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sldIdLst>
    <p:sldId id="294" r:id="rId2"/>
    <p:sldId id="295" r:id="rId3"/>
    <p:sldId id="329" r:id="rId4"/>
    <p:sldId id="330" r:id="rId5"/>
    <p:sldId id="331" r:id="rId6"/>
    <p:sldId id="332" r:id="rId7"/>
    <p:sldId id="333" r:id="rId8"/>
    <p:sldId id="334" r:id="rId9"/>
    <p:sldId id="335" r:id="rId10"/>
    <p:sldId id="336" r:id="rId11"/>
    <p:sldId id="337" r:id="rId12"/>
    <p:sldId id="338" r:id="rId13"/>
    <p:sldId id="339" r:id="rId14"/>
    <p:sldId id="340" r:id="rId15"/>
    <p:sldId id="341" r:id="rId16"/>
    <p:sldId id="342" r:id="rId17"/>
    <p:sldId id="343" r:id="rId18"/>
    <p:sldId id="344" r:id="rId19"/>
    <p:sldId id="345" r:id="rId20"/>
    <p:sldId id="346" r:id="rId21"/>
    <p:sldId id="347" r:id="rId22"/>
    <p:sldId id="348" r:id="rId23"/>
    <p:sldId id="349" r:id="rId24"/>
    <p:sldId id="350" r:id="rId25"/>
    <p:sldId id="296" r:id="rId26"/>
  </p:sldIdLst>
  <p:sldSz cx="9902825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1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4A5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99" d="100"/>
          <a:sy n="99" d="100"/>
        </p:scale>
        <p:origin x="90" y="156"/>
      </p:cViewPr>
      <p:guideLst>
        <p:guide orient="horz" pos="2160"/>
        <p:guide pos="311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1961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AF27DC-2839-4F65-8935-157823D6B4D7}" type="datetimeFigureOut">
              <a:rPr lang="tr-TR" smtClean="0"/>
              <a:t>27.04.2017</a:t>
            </a:fld>
            <a:endParaRPr lang="tr-T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4088" y="685800"/>
            <a:ext cx="4949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r-T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96912D-2EB8-46BA-BB80-5F866F534728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5577779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4088" y="685800"/>
            <a:ext cx="4949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96912D-2EB8-46BA-BB80-5F866F534728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7149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121FC0-360E-4735-A959-34FFE2C85F6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42190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9861" indent="-349861">
              <a:lnSpc>
                <a:spcPct val="150000"/>
              </a:lnSpc>
              <a:buClr>
                <a:srgbClr val="16365C"/>
              </a:buClr>
              <a:buSzPts val="1200"/>
              <a:buFont typeface="Wingdings" panose="05000000000000000000" pitchFamily="2" charset="2"/>
              <a:buChar char="Ø"/>
            </a:pPr>
            <a:r>
              <a:rPr lang="tr-TR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rojelerin nihai cam seçim aşamasına kadar tüm süreçlerinde </a:t>
            </a:r>
            <a:r>
              <a:rPr lang="tr-TR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karar vericiler</a:t>
            </a:r>
            <a:r>
              <a:rPr lang="tr-TR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e</a:t>
            </a:r>
            <a:r>
              <a:rPr lang="tr-TR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tr-TR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ire bir görüşerek, projelere yönelik </a:t>
            </a:r>
            <a:r>
              <a:rPr lang="tr-TR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çözüm ortaklığı </a:t>
            </a:r>
            <a:r>
              <a:rPr lang="tr-TR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unuyoruz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F24123-B109-4CAC-9962-8A9579EDCC99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37115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F24123-B109-4CAC-9962-8A9579EDCC99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569937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9861" indent="-349861">
              <a:lnSpc>
                <a:spcPct val="150000"/>
              </a:lnSpc>
              <a:buClr>
                <a:srgbClr val="16365C"/>
              </a:buClr>
              <a:buSzPts val="1200"/>
              <a:buFont typeface="Wingdings" panose="05000000000000000000" pitchFamily="2" charset="2"/>
              <a:buChar char="Ø"/>
            </a:pPr>
            <a:r>
              <a:rPr lang="tr-TR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roje özelinde; </a:t>
            </a:r>
          </a:p>
          <a:p>
            <a:pPr>
              <a:lnSpc>
                <a:spcPct val="150000"/>
              </a:lnSpc>
              <a:buClr>
                <a:srgbClr val="16365C"/>
              </a:buClr>
              <a:buSzPts val="1200"/>
            </a:pPr>
            <a:r>
              <a:rPr lang="tr-TR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        </a:t>
            </a:r>
            <a:r>
              <a:rPr lang="tr-TR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epla </a:t>
            </a:r>
            <a:r>
              <a:rPr lang="tr-TR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ve </a:t>
            </a:r>
            <a:r>
              <a:rPr lang="tr-TR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Glastik</a:t>
            </a:r>
            <a:r>
              <a:rPr lang="tr-TR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tr-TR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tatik hesap </a:t>
            </a:r>
            <a:r>
              <a:rPr lang="tr-TR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rogramları ile optimum cam kalınlığı, </a:t>
            </a:r>
          </a:p>
          <a:p>
            <a:pPr>
              <a:lnSpc>
                <a:spcPct val="150000"/>
              </a:lnSpc>
              <a:buClr>
                <a:srgbClr val="16365C"/>
              </a:buClr>
              <a:buSzPts val="1200"/>
            </a:pPr>
            <a:r>
              <a:rPr lang="tr-TR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        </a:t>
            </a:r>
            <a:r>
              <a:rPr lang="tr-TR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Vitrages</a:t>
            </a:r>
            <a:r>
              <a:rPr lang="tr-TR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programı ile </a:t>
            </a:r>
            <a:r>
              <a:rPr lang="tr-TR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ısıl kırılma </a:t>
            </a:r>
            <a:r>
              <a:rPr lang="tr-TR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nalizi  </a:t>
            </a:r>
          </a:p>
          <a:p>
            <a:pPr>
              <a:lnSpc>
                <a:spcPct val="150000"/>
              </a:lnSpc>
              <a:buClr>
                <a:srgbClr val="16365C"/>
              </a:buClr>
              <a:buSzPts val="1200"/>
            </a:pPr>
            <a:r>
              <a:rPr lang="tr-TR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        </a:t>
            </a:r>
            <a:r>
              <a:rPr lang="tr-TR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IS</a:t>
            </a:r>
            <a:r>
              <a:rPr lang="tr-TR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ile </a:t>
            </a:r>
            <a:r>
              <a:rPr lang="tr-TR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Optics</a:t>
            </a:r>
            <a:r>
              <a:rPr lang="tr-TR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programları kullanarak </a:t>
            </a:r>
            <a:r>
              <a:rPr lang="tr-TR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erformans</a:t>
            </a:r>
            <a:r>
              <a:rPr lang="tr-TR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hesapları yapıyor,</a:t>
            </a:r>
            <a:endParaRPr lang="en-US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9861" indent="-349861">
              <a:lnSpc>
                <a:spcPct val="150000"/>
              </a:lnSpc>
              <a:buClr>
                <a:srgbClr val="16365C"/>
              </a:buClr>
              <a:buSzPts val="1200"/>
              <a:buFont typeface="Wingdings" panose="05000000000000000000" pitchFamily="2" charset="2"/>
              <a:buChar char="Ø"/>
            </a:pPr>
            <a:r>
              <a:rPr lang="tr-TR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Yapılan hesaplar doğrultusunda </a:t>
            </a:r>
            <a:r>
              <a:rPr lang="tr-TR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am şartname </a:t>
            </a:r>
            <a:r>
              <a:rPr lang="tr-TR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önerileri hazırlıyor,</a:t>
            </a:r>
            <a:endParaRPr lang="en-US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9861" indent="-349861">
              <a:lnSpc>
                <a:spcPct val="150000"/>
              </a:lnSpc>
              <a:buClr>
                <a:srgbClr val="16365C"/>
              </a:buClr>
              <a:buSzPts val="1200"/>
              <a:buFont typeface="Wingdings" panose="05000000000000000000" pitchFamily="2" charset="2"/>
              <a:buChar char="Ø"/>
            </a:pPr>
            <a:r>
              <a:rPr lang="tr-TR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rojelerin ihtiyaçları ve konsepti doğrultusunda </a:t>
            </a:r>
            <a:r>
              <a:rPr lang="tr-TR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oğru cam çözümleri </a:t>
            </a:r>
            <a:r>
              <a:rPr lang="tr-TR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unuyor,</a:t>
            </a:r>
            <a:endParaRPr lang="en-US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9861" indent="-349861">
              <a:lnSpc>
                <a:spcPct val="150000"/>
              </a:lnSpc>
              <a:spcAft>
                <a:spcPts val="816"/>
              </a:spcAft>
              <a:buClr>
                <a:srgbClr val="16365C"/>
              </a:buClr>
              <a:buSzPts val="1200"/>
              <a:buFont typeface="Wingdings" panose="05000000000000000000" pitchFamily="2" charset="2"/>
              <a:buChar char="Ø"/>
            </a:pPr>
            <a:r>
              <a:rPr lang="tr-TR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rojeler için </a:t>
            </a:r>
            <a:r>
              <a:rPr lang="tr-TR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numune ve mock-up </a:t>
            </a:r>
            <a:r>
              <a:rPr lang="tr-TR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esteği sağlıyoruz.</a:t>
            </a:r>
            <a:endParaRPr lang="en-US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9861" indent="-349861">
              <a:lnSpc>
                <a:spcPct val="150000"/>
              </a:lnSpc>
              <a:buClr>
                <a:srgbClr val="16365C"/>
              </a:buClr>
              <a:buSzPts val="1200"/>
              <a:buFont typeface="Wingdings" panose="05000000000000000000" pitchFamily="2" charset="2"/>
              <a:buChar char="Ø"/>
            </a:pPr>
            <a:endParaRPr lang="en-US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endParaRPr lang="en-US" dirty="0"/>
          </a:p>
          <a:p>
            <a:endParaRPr lang="tr-TR" dirty="0"/>
          </a:p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F24123-B109-4CAC-9962-8A9579EDCC99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02779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4088" y="685800"/>
            <a:ext cx="4949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96912D-2EB8-46BA-BB80-5F866F534728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922243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922EC0-E665-44A1-B7B0-A119D403F5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32212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922EC0-E665-44A1-B7B0-A119D403F5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192813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922EC0-E665-44A1-B7B0-A119D403F5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4622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r-TR" b="1" dirty="0">
                <a:effectLst/>
              </a:rPr>
              <a:t>​​Atatürk’ün direktifleriyle 1935 yılında Türkiye İş Bankası tarafından kurulan Şişecam, 81 yıllık geçmişiyle Türkiye’nin en köklü sanayi kuruluşlarından biridir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7B1502-BB19-4871-9D3C-36BB34C06C0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2589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r-TR" dirty="0"/>
              <a:t>21000 çalışanı ile 13 ülkede 44</a:t>
            </a:r>
            <a:r>
              <a:rPr lang="tr-TR" baseline="0" dirty="0"/>
              <a:t> tesiste üretim 150 ülkede satış faaliyeti gerçekleştirmektedir.</a:t>
            </a:r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7B1502-BB19-4871-9D3C-36BB34C06C0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2081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200" b="1" dirty="0"/>
              <a:t>Şişecam </a:t>
            </a:r>
            <a:r>
              <a:rPr lang="tr-TR" sz="1200" b="1" dirty="0" err="1"/>
              <a:t>Düzcam</a:t>
            </a:r>
            <a:r>
              <a:rPr lang="tr-TR" sz="1200" b="1" dirty="0"/>
              <a:t> 2.8  milyon ton üretim kapasitesi ile Avrupa’da 1. , Dünyada 5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200" b="1" dirty="0"/>
              <a:t>Kimyasallar  Sodyum </a:t>
            </a:r>
            <a:r>
              <a:rPr lang="tr-TR" sz="1200" b="1" dirty="0" err="1"/>
              <a:t>Bikromat</a:t>
            </a:r>
            <a:r>
              <a:rPr lang="tr-TR" sz="1200" b="1" dirty="0"/>
              <a:t> Bazik Krom Sülfatta Dünya lideri</a:t>
            </a:r>
          </a:p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7B1502-BB19-4871-9D3C-36BB34C06C0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43899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/>
              <a:t>Güçlü</a:t>
            </a:r>
            <a:r>
              <a:rPr lang="en-US" sz="1200" dirty="0"/>
              <a:t> </a:t>
            </a:r>
            <a:r>
              <a:rPr lang="en-US" sz="1200" dirty="0" err="1"/>
              <a:t>markaları</a:t>
            </a:r>
            <a:r>
              <a:rPr lang="en-US" sz="1200" dirty="0"/>
              <a:t> </a:t>
            </a:r>
            <a:r>
              <a:rPr lang="en-US" sz="1200" dirty="0" err="1"/>
              <a:t>ile</a:t>
            </a:r>
            <a:r>
              <a:rPr lang="en-US" sz="1200" dirty="0"/>
              <a:t> </a:t>
            </a:r>
            <a:r>
              <a:rPr lang="en-US" sz="1200" dirty="0" err="1"/>
              <a:t>hızlı</a:t>
            </a:r>
            <a:r>
              <a:rPr lang="en-US" sz="1200" dirty="0"/>
              <a:t> </a:t>
            </a:r>
            <a:r>
              <a:rPr lang="en-US" sz="1200" dirty="0" err="1"/>
              <a:t>büyüyen</a:t>
            </a:r>
            <a:r>
              <a:rPr lang="en-US" sz="1200" dirty="0"/>
              <a:t> </a:t>
            </a:r>
            <a:r>
              <a:rPr lang="en-US" sz="1200" dirty="0" err="1"/>
              <a:t>ve</a:t>
            </a:r>
            <a:r>
              <a:rPr lang="en-US" sz="1200" dirty="0"/>
              <a:t> </a:t>
            </a:r>
            <a:r>
              <a:rPr lang="en-US" sz="1200" dirty="0" err="1"/>
              <a:t>yenilikçi</a:t>
            </a:r>
            <a:r>
              <a:rPr lang="en-US" sz="1200" dirty="0"/>
              <a:t> </a:t>
            </a:r>
            <a:r>
              <a:rPr lang="en-US" sz="1200" dirty="0" err="1"/>
              <a:t>çözümler</a:t>
            </a:r>
            <a:r>
              <a:rPr lang="en-US" sz="1200" dirty="0"/>
              <a:t> </a:t>
            </a:r>
            <a:r>
              <a:rPr lang="en-US" sz="1200" dirty="0" err="1"/>
              <a:t>sunan</a:t>
            </a:r>
            <a:r>
              <a:rPr lang="en-US" sz="1200" dirty="0"/>
              <a:t> global </a:t>
            </a:r>
            <a:r>
              <a:rPr lang="en-US" sz="1200" dirty="0" err="1"/>
              <a:t>bir</a:t>
            </a:r>
            <a:r>
              <a:rPr lang="en-US" sz="1200" dirty="0"/>
              <a:t> </a:t>
            </a:r>
            <a:r>
              <a:rPr lang="en-US" sz="1200" dirty="0" err="1"/>
              <a:t>düzcam</a:t>
            </a:r>
            <a:r>
              <a:rPr lang="en-US" sz="1200" dirty="0"/>
              <a:t> </a:t>
            </a:r>
            <a:r>
              <a:rPr lang="en-US" sz="1200" dirty="0" err="1"/>
              <a:t>şirketi</a:t>
            </a:r>
            <a:r>
              <a:rPr lang="en-US" sz="1200" dirty="0"/>
              <a:t> </a:t>
            </a:r>
            <a:r>
              <a:rPr lang="en-US" sz="1200" dirty="0" err="1"/>
              <a:t>olma</a:t>
            </a:r>
            <a:r>
              <a:rPr lang="tr-TR" sz="1200" dirty="0"/>
              <a:t> vizyonu</a:t>
            </a:r>
            <a:r>
              <a:rPr lang="tr-TR" sz="1200" baseline="0" dirty="0"/>
              <a:t> ile,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998BE4-B50C-4E9C-8F0D-7491BFE8C59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13760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 err="1"/>
              <a:t>Güçlü</a:t>
            </a:r>
            <a:r>
              <a:rPr lang="en-US" sz="1200" dirty="0"/>
              <a:t> </a:t>
            </a:r>
            <a:r>
              <a:rPr lang="en-US" sz="1200" dirty="0" err="1"/>
              <a:t>markaları</a:t>
            </a:r>
            <a:r>
              <a:rPr lang="en-US" sz="1200" dirty="0"/>
              <a:t> </a:t>
            </a:r>
            <a:r>
              <a:rPr lang="en-US" sz="1200" dirty="0" err="1"/>
              <a:t>ile</a:t>
            </a:r>
            <a:r>
              <a:rPr lang="en-US" sz="1200" dirty="0"/>
              <a:t> </a:t>
            </a:r>
            <a:r>
              <a:rPr lang="en-US" sz="1200" dirty="0" err="1"/>
              <a:t>hızlı</a:t>
            </a:r>
            <a:r>
              <a:rPr lang="en-US" sz="1200" dirty="0"/>
              <a:t> </a:t>
            </a:r>
            <a:r>
              <a:rPr lang="en-US" sz="1200" dirty="0" err="1"/>
              <a:t>büyüyen</a:t>
            </a:r>
            <a:r>
              <a:rPr lang="en-US" sz="1200" dirty="0"/>
              <a:t> </a:t>
            </a:r>
            <a:r>
              <a:rPr lang="en-US" sz="1200" dirty="0" err="1"/>
              <a:t>ve</a:t>
            </a:r>
            <a:r>
              <a:rPr lang="en-US" sz="1200" dirty="0"/>
              <a:t> </a:t>
            </a:r>
            <a:r>
              <a:rPr lang="en-US" sz="1200" dirty="0" err="1"/>
              <a:t>yenilikçi</a:t>
            </a:r>
            <a:r>
              <a:rPr lang="en-US" sz="1200" dirty="0"/>
              <a:t> </a:t>
            </a:r>
            <a:r>
              <a:rPr lang="en-US" sz="1200" dirty="0" err="1"/>
              <a:t>çözümler</a:t>
            </a:r>
            <a:r>
              <a:rPr lang="en-US" sz="1200" dirty="0"/>
              <a:t> </a:t>
            </a:r>
            <a:r>
              <a:rPr lang="en-US" sz="1200" dirty="0" err="1"/>
              <a:t>sunan</a:t>
            </a:r>
            <a:r>
              <a:rPr lang="en-US" sz="1200" dirty="0"/>
              <a:t> global </a:t>
            </a:r>
            <a:r>
              <a:rPr lang="en-US" sz="1200" dirty="0" err="1"/>
              <a:t>bir</a:t>
            </a:r>
            <a:r>
              <a:rPr lang="en-US" sz="1200" dirty="0"/>
              <a:t> </a:t>
            </a:r>
            <a:r>
              <a:rPr lang="en-US" sz="1200" dirty="0" err="1"/>
              <a:t>düzcam</a:t>
            </a:r>
            <a:r>
              <a:rPr lang="en-US" sz="1200" dirty="0"/>
              <a:t> </a:t>
            </a:r>
            <a:r>
              <a:rPr lang="en-US" sz="1200" dirty="0" err="1"/>
              <a:t>şirketi</a:t>
            </a:r>
            <a:r>
              <a:rPr lang="en-US" sz="1200" dirty="0"/>
              <a:t> </a:t>
            </a:r>
            <a:r>
              <a:rPr lang="en-US" sz="1200" dirty="0" err="1"/>
              <a:t>olma</a:t>
            </a:r>
            <a:r>
              <a:rPr lang="tr-TR" sz="1200" dirty="0"/>
              <a:t> vizyonu</a:t>
            </a:r>
            <a:r>
              <a:rPr lang="tr-TR" sz="1200" baseline="0" dirty="0"/>
              <a:t> ile,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7B1502-BB19-4871-9D3C-36BB34C06C0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45223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r-TR" dirty="0"/>
              <a:t>Türkiye</a:t>
            </a:r>
            <a:r>
              <a:rPr lang="tr-TR" baseline="0" dirty="0"/>
              <a:t> , </a:t>
            </a:r>
            <a:r>
              <a:rPr lang="tr-TR" dirty="0"/>
              <a:t>Almanya Rusya Bulgaristan Mısır Hindistan Romanya İtalya Macaristan Slovakya  ülkelerindeki 17 üretim tesisi ile global bir düzcam</a:t>
            </a:r>
            <a:r>
              <a:rPr lang="tr-TR" baseline="0" dirty="0"/>
              <a:t> şirketidir.</a:t>
            </a:r>
            <a:r>
              <a:rPr lang="tr-TR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7B1502-BB19-4871-9D3C-36BB34C06C0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14787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r-TR" dirty="0">
                <a:effectLst/>
              </a:rPr>
              <a:t>-Şişecam Bilim ve Teknoloji Merkezi, Türkiye’nin en büyük ve yetkin cam bilimi ve teknolojisi laboratuvarı ve Avrupa’nın bu alandaki sayılı laboratuvarlarından biridir.</a:t>
            </a:r>
          </a:p>
          <a:p>
            <a:r>
              <a:rPr lang="tr-TR" dirty="0">
                <a:effectLst/>
              </a:rPr>
              <a:t>-Merkez, yeni ürün geliştirme,  çevreye saygılı üretim teknolojiler, fırın</a:t>
            </a:r>
            <a:r>
              <a:rPr lang="tr-TR" baseline="0" dirty="0">
                <a:effectLst/>
              </a:rPr>
              <a:t>  modelleri</a:t>
            </a:r>
            <a:r>
              <a:rPr lang="tr-TR" dirty="0">
                <a:effectLst/>
              </a:rPr>
              <a:t> konularında faaliyet  göstermektedir.</a:t>
            </a:r>
          </a:p>
          <a:p>
            <a:endParaRPr lang="tr-TR" dirty="0">
              <a:effectLst/>
            </a:endParaRPr>
          </a:p>
          <a:p>
            <a:r>
              <a:rPr lang="tr-TR" dirty="0"/>
              <a:t>-</a:t>
            </a:r>
            <a:r>
              <a:rPr lang="tr-TR" dirty="0" err="1"/>
              <a:t>Arge</a:t>
            </a:r>
            <a:r>
              <a:rPr lang="tr-TR" dirty="0"/>
              <a:t> Merkezi ödülü; Cam ve Cam ürünleri ile İşbirliği</a:t>
            </a:r>
            <a:r>
              <a:rPr lang="tr-TR" baseline="0" dirty="0"/>
              <a:t> etkileşim alanlarında</a:t>
            </a:r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7B1502-BB19-4871-9D3C-36BB34C06C0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88905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121FC0-360E-4735-A959-34FFE2C85F6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25559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712" y="2130426"/>
            <a:ext cx="8417401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424" y="3886200"/>
            <a:ext cx="693197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79548" y="274639"/>
            <a:ext cx="2228136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141" y="274639"/>
            <a:ext cx="651936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 userDrawn="1"/>
        </p:nvSpPr>
        <p:spPr bwMode="auto">
          <a:xfrm>
            <a:off x="5288233" y="396837"/>
            <a:ext cx="3534844" cy="29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912813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2813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2813" rtl="0" eaLnBrk="1" fontAlgn="auto" latinLnBrk="0" hangingPunct="1">
              <a:lnSpc>
                <a:spcPct val="100000"/>
              </a:lnSpc>
              <a:spcBef>
                <a:spcPts val="49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326" b="0" i="0" u="none" strike="noStrike" kern="1200" cap="none" spc="-9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</a:t>
            </a:r>
            <a:endParaRPr kumimoji="0" lang="tr-TR" sz="1326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09206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44582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255" y="4406901"/>
            <a:ext cx="8417401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255" y="2906713"/>
            <a:ext cx="8417401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141" y="1600201"/>
            <a:ext cx="4373748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3936" y="1600201"/>
            <a:ext cx="4373748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141" y="1535113"/>
            <a:ext cx="437546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141" y="2174875"/>
            <a:ext cx="437546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0498" y="1535113"/>
            <a:ext cx="437718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0498" y="2174875"/>
            <a:ext cx="437718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142" y="273050"/>
            <a:ext cx="3257961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1730" y="273051"/>
            <a:ext cx="5535954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142" y="1435101"/>
            <a:ext cx="3257961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023" y="4800600"/>
            <a:ext cx="5941695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023" y="612775"/>
            <a:ext cx="5941695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023" y="5367338"/>
            <a:ext cx="5941695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141" y="274638"/>
            <a:ext cx="8912543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141" y="1600201"/>
            <a:ext cx="8912543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141" y="6356351"/>
            <a:ext cx="2310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4/2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3465" y="6356351"/>
            <a:ext cx="31358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7025" y="6356351"/>
            <a:ext cx="23106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jpeg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jpe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jpeg"/><Relationship Id="rId7" Type="http://schemas.openxmlformats.org/officeDocument/2006/relationships/image" Target="../media/image28.jpe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jpeg"/><Relationship Id="rId9" Type="http://schemas.openxmlformats.org/officeDocument/2006/relationships/image" Target="../media/image6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jpeg"/><Relationship Id="rId4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jpeg"/><Relationship Id="rId4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5" Type="http://schemas.openxmlformats.org/officeDocument/2006/relationships/image" Target="../media/image6.jpe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712" y="2069175"/>
            <a:ext cx="8417401" cy="1592527"/>
          </a:xfrm>
        </p:spPr>
        <p:txBody>
          <a:bodyPr/>
          <a:lstStyle/>
          <a:p>
            <a:r>
              <a:rPr lang="tr-TR" dirty="0"/>
              <a:t> 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2825" cy="6855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8459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34644" t="25248" r="35283" b="22981"/>
          <a:stretch/>
        </p:blipFill>
        <p:spPr>
          <a:xfrm>
            <a:off x="2630908" y="1366666"/>
            <a:ext cx="7239498" cy="549133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845880" y="1658351"/>
            <a:ext cx="1003673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975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Rusya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937507" y="4263758"/>
            <a:ext cx="1003673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975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Türkiy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435670" y="5782845"/>
            <a:ext cx="1003673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975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Mısır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614651" y="3204279"/>
            <a:ext cx="1322856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975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Romanya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748782" y="3668622"/>
            <a:ext cx="764431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975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Bulgarista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203715" y="2830829"/>
            <a:ext cx="1090135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975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Slovakya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312563" y="2442559"/>
            <a:ext cx="1090135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975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Almanya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8129948" y="4202479"/>
            <a:ext cx="1771966" cy="2432116"/>
            <a:chOff x="5413940" y="4411298"/>
            <a:chExt cx="1655775" cy="2163744"/>
          </a:xfrm>
        </p:grpSpPr>
        <p:sp>
          <p:nvSpPr>
            <p:cNvPr id="15" name="Indi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5413940" y="4411298"/>
              <a:ext cx="1655775" cy="2163744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ysClr val="window" lastClr="FFFFFF">
                <a:lumMod val="50000"/>
              </a:sysClr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81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 pitchFamily="34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5938047" y="5255707"/>
              <a:ext cx="937860" cy="2156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975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/>
                  <a:ea typeface="+mn-ea"/>
                  <a:cs typeface="+mn-cs"/>
                </a:rPr>
                <a:t>Hindistan</a:t>
              </a:r>
            </a:p>
          </p:txBody>
        </p:sp>
      </p:grpSp>
      <p:pic>
        <p:nvPicPr>
          <p:cNvPr id="17" name="Picture 349" descr="blau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7491037" y="1658351"/>
            <a:ext cx="133224" cy="224532"/>
          </a:xfrm>
          <a:prstGeom prst="rect">
            <a:avLst/>
          </a:prstGeom>
          <a:noFill/>
        </p:spPr>
      </p:pic>
      <p:sp>
        <p:nvSpPr>
          <p:cNvPr id="18" name="TextBox 17"/>
          <p:cNvSpPr txBox="1"/>
          <p:nvPr/>
        </p:nvSpPr>
        <p:spPr>
          <a:xfrm>
            <a:off x="9003670" y="3255681"/>
            <a:ext cx="1013954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975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üzcam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9003670" y="3609529"/>
            <a:ext cx="1013954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975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tomotiv +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975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yaz Eşya</a:t>
            </a:r>
          </a:p>
        </p:txBody>
      </p:sp>
      <p:sp>
        <p:nvSpPr>
          <p:cNvPr id="20" name="Italy">
            <a:hlinkClick r:id="" action="ppaction://noaction"/>
          </p:cNvPr>
          <p:cNvSpPr>
            <a:spLocks noEditPoints="1"/>
          </p:cNvSpPr>
          <p:nvPr/>
        </p:nvSpPr>
        <p:spPr bwMode="auto">
          <a:xfrm rot="626082">
            <a:off x="3229398" y="3144812"/>
            <a:ext cx="1019078" cy="1164820"/>
          </a:xfrm>
          <a:custGeom>
            <a:avLst/>
            <a:gdLst>
              <a:gd name="T0" fmla="*/ 2147483647 w 780"/>
              <a:gd name="T1" fmla="*/ 2147483647 h 828"/>
              <a:gd name="T2" fmla="*/ 2147483647 w 780"/>
              <a:gd name="T3" fmla="*/ 2147483647 h 828"/>
              <a:gd name="T4" fmla="*/ 2147483647 w 780"/>
              <a:gd name="T5" fmla="*/ 2147483647 h 828"/>
              <a:gd name="T6" fmla="*/ 2147483647 w 780"/>
              <a:gd name="T7" fmla="*/ 2147483647 h 828"/>
              <a:gd name="T8" fmla="*/ 2147483647 w 780"/>
              <a:gd name="T9" fmla="*/ 2147483647 h 828"/>
              <a:gd name="T10" fmla="*/ 2147483647 w 780"/>
              <a:gd name="T11" fmla="*/ 2147483647 h 828"/>
              <a:gd name="T12" fmla="*/ 2147483647 w 780"/>
              <a:gd name="T13" fmla="*/ 2147483647 h 828"/>
              <a:gd name="T14" fmla="*/ 2147483647 w 780"/>
              <a:gd name="T15" fmla="*/ 2147483647 h 828"/>
              <a:gd name="T16" fmla="*/ 2147483647 w 780"/>
              <a:gd name="T17" fmla="*/ 2147483647 h 828"/>
              <a:gd name="T18" fmla="*/ 2147483647 w 780"/>
              <a:gd name="T19" fmla="*/ 2147483647 h 828"/>
              <a:gd name="T20" fmla="*/ 2147483647 w 780"/>
              <a:gd name="T21" fmla="*/ 2147483647 h 828"/>
              <a:gd name="T22" fmla="*/ 2147483647 w 780"/>
              <a:gd name="T23" fmla="*/ 2147483647 h 828"/>
              <a:gd name="T24" fmla="*/ 2147483647 w 780"/>
              <a:gd name="T25" fmla="*/ 2147483647 h 828"/>
              <a:gd name="T26" fmla="*/ 2147483647 w 780"/>
              <a:gd name="T27" fmla="*/ 2147483647 h 828"/>
              <a:gd name="T28" fmla="*/ 2147483647 w 780"/>
              <a:gd name="T29" fmla="*/ 2147483647 h 828"/>
              <a:gd name="T30" fmla="*/ 2147483647 w 780"/>
              <a:gd name="T31" fmla="*/ 2147483647 h 828"/>
              <a:gd name="T32" fmla="*/ 2147483647 w 780"/>
              <a:gd name="T33" fmla="*/ 2147483647 h 828"/>
              <a:gd name="T34" fmla="*/ 2147483647 w 780"/>
              <a:gd name="T35" fmla="*/ 2147483647 h 828"/>
              <a:gd name="T36" fmla="*/ 2147483647 w 780"/>
              <a:gd name="T37" fmla="*/ 2147483647 h 828"/>
              <a:gd name="T38" fmla="*/ 2147483647 w 780"/>
              <a:gd name="T39" fmla="*/ 2147483647 h 828"/>
              <a:gd name="T40" fmla="*/ 2147483647 w 780"/>
              <a:gd name="T41" fmla="*/ 2147483647 h 828"/>
              <a:gd name="T42" fmla="*/ 2147483647 w 780"/>
              <a:gd name="T43" fmla="*/ 2147483647 h 828"/>
              <a:gd name="T44" fmla="*/ 2147483647 w 780"/>
              <a:gd name="T45" fmla="*/ 2147483647 h 828"/>
              <a:gd name="T46" fmla="*/ 2147483647 w 780"/>
              <a:gd name="T47" fmla="*/ 2147483647 h 828"/>
              <a:gd name="T48" fmla="*/ 2147483647 w 780"/>
              <a:gd name="T49" fmla="*/ 2147483647 h 828"/>
              <a:gd name="T50" fmla="*/ 2147483647 w 780"/>
              <a:gd name="T51" fmla="*/ 2147483647 h 828"/>
              <a:gd name="T52" fmla="*/ 2147483647 w 780"/>
              <a:gd name="T53" fmla="*/ 2147483647 h 828"/>
              <a:gd name="T54" fmla="*/ 2147483647 w 780"/>
              <a:gd name="T55" fmla="*/ 2147483647 h 828"/>
              <a:gd name="T56" fmla="*/ 2147483647 w 780"/>
              <a:gd name="T57" fmla="*/ 2147483647 h 828"/>
              <a:gd name="T58" fmla="*/ 2147483647 w 780"/>
              <a:gd name="T59" fmla="*/ 2147483647 h 828"/>
              <a:gd name="T60" fmla="*/ 2147483647 w 780"/>
              <a:gd name="T61" fmla="*/ 2147483647 h 828"/>
              <a:gd name="T62" fmla="*/ 2147483647 w 780"/>
              <a:gd name="T63" fmla="*/ 2147483647 h 828"/>
              <a:gd name="T64" fmla="*/ 2147483647 w 780"/>
              <a:gd name="T65" fmla="*/ 2147483647 h 828"/>
              <a:gd name="T66" fmla="*/ 2147483647 w 780"/>
              <a:gd name="T67" fmla="*/ 2147483647 h 828"/>
              <a:gd name="T68" fmla="*/ 2147483647 w 780"/>
              <a:gd name="T69" fmla="*/ 2147483647 h 828"/>
              <a:gd name="T70" fmla="*/ 2147483647 w 780"/>
              <a:gd name="T71" fmla="*/ 2147483647 h 828"/>
              <a:gd name="T72" fmla="*/ 2147483647 w 780"/>
              <a:gd name="T73" fmla="*/ 2147483647 h 828"/>
              <a:gd name="T74" fmla="*/ 2147483647 w 780"/>
              <a:gd name="T75" fmla="*/ 2147483647 h 828"/>
              <a:gd name="T76" fmla="*/ 2147483647 w 780"/>
              <a:gd name="T77" fmla="*/ 2147483647 h 828"/>
              <a:gd name="T78" fmla="*/ 2147483647 w 780"/>
              <a:gd name="T79" fmla="*/ 2147483647 h 828"/>
              <a:gd name="T80" fmla="*/ 2147483647 w 780"/>
              <a:gd name="T81" fmla="*/ 2147483647 h 828"/>
              <a:gd name="T82" fmla="*/ 2147483647 w 780"/>
              <a:gd name="T83" fmla="*/ 2147483647 h 828"/>
              <a:gd name="T84" fmla="*/ 2147483647 w 780"/>
              <a:gd name="T85" fmla="*/ 2147483647 h 828"/>
              <a:gd name="T86" fmla="*/ 2147483647 w 780"/>
              <a:gd name="T87" fmla="*/ 2147483647 h 828"/>
              <a:gd name="T88" fmla="*/ 2147483647 w 780"/>
              <a:gd name="T89" fmla="*/ 2147483647 h 828"/>
              <a:gd name="T90" fmla="*/ 2147483647 w 780"/>
              <a:gd name="T91" fmla="*/ 2147483647 h 828"/>
              <a:gd name="T92" fmla="*/ 2147483647 w 780"/>
              <a:gd name="T93" fmla="*/ 2147483647 h 828"/>
              <a:gd name="T94" fmla="*/ 2147483647 w 780"/>
              <a:gd name="T95" fmla="*/ 2147483647 h 828"/>
              <a:gd name="T96" fmla="*/ 2147483647 w 780"/>
              <a:gd name="T97" fmla="*/ 2147483647 h 828"/>
              <a:gd name="T98" fmla="*/ 2147483647 w 780"/>
              <a:gd name="T99" fmla="*/ 2147483647 h 828"/>
              <a:gd name="T100" fmla="*/ 2147483647 w 780"/>
              <a:gd name="T101" fmla="*/ 2147483647 h 828"/>
              <a:gd name="T102" fmla="*/ 2147483647 w 780"/>
              <a:gd name="T103" fmla="*/ 2147483647 h 828"/>
              <a:gd name="T104" fmla="*/ 2147483647 w 780"/>
              <a:gd name="T105" fmla="*/ 2147483647 h 828"/>
              <a:gd name="T106" fmla="*/ 2147483647 w 780"/>
              <a:gd name="T107" fmla="*/ 2147483647 h 828"/>
              <a:gd name="T108" fmla="*/ 2147483647 w 780"/>
              <a:gd name="T109" fmla="*/ 2147483647 h 828"/>
              <a:gd name="T110" fmla="*/ 2147483647 w 780"/>
              <a:gd name="T111" fmla="*/ 2147483647 h 828"/>
              <a:gd name="T112" fmla="*/ 2147483647 w 780"/>
              <a:gd name="T113" fmla="*/ 2147483647 h 82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780"/>
              <a:gd name="T172" fmla="*/ 0 h 828"/>
              <a:gd name="T173" fmla="*/ 780 w 780"/>
              <a:gd name="T174" fmla="*/ 828 h 82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780" h="828">
                <a:moveTo>
                  <a:pt x="570" y="720"/>
                </a:moveTo>
                <a:lnTo>
                  <a:pt x="558" y="714"/>
                </a:lnTo>
                <a:lnTo>
                  <a:pt x="552" y="708"/>
                </a:lnTo>
                <a:lnTo>
                  <a:pt x="540" y="708"/>
                </a:lnTo>
                <a:lnTo>
                  <a:pt x="534" y="714"/>
                </a:lnTo>
                <a:lnTo>
                  <a:pt x="522" y="720"/>
                </a:lnTo>
                <a:lnTo>
                  <a:pt x="516" y="726"/>
                </a:lnTo>
                <a:lnTo>
                  <a:pt x="468" y="726"/>
                </a:lnTo>
                <a:lnTo>
                  <a:pt x="456" y="720"/>
                </a:lnTo>
                <a:lnTo>
                  <a:pt x="444" y="708"/>
                </a:lnTo>
                <a:lnTo>
                  <a:pt x="438" y="708"/>
                </a:lnTo>
                <a:lnTo>
                  <a:pt x="420" y="726"/>
                </a:lnTo>
                <a:lnTo>
                  <a:pt x="402" y="714"/>
                </a:lnTo>
                <a:lnTo>
                  <a:pt x="396" y="714"/>
                </a:lnTo>
                <a:lnTo>
                  <a:pt x="384" y="726"/>
                </a:lnTo>
                <a:lnTo>
                  <a:pt x="384" y="738"/>
                </a:lnTo>
                <a:lnTo>
                  <a:pt x="396" y="750"/>
                </a:lnTo>
                <a:lnTo>
                  <a:pt x="420" y="762"/>
                </a:lnTo>
                <a:lnTo>
                  <a:pt x="426" y="762"/>
                </a:lnTo>
                <a:lnTo>
                  <a:pt x="444" y="780"/>
                </a:lnTo>
                <a:lnTo>
                  <a:pt x="444" y="786"/>
                </a:lnTo>
                <a:lnTo>
                  <a:pt x="456" y="786"/>
                </a:lnTo>
                <a:lnTo>
                  <a:pt x="468" y="798"/>
                </a:lnTo>
                <a:lnTo>
                  <a:pt x="480" y="804"/>
                </a:lnTo>
                <a:lnTo>
                  <a:pt x="498" y="798"/>
                </a:lnTo>
                <a:lnTo>
                  <a:pt x="504" y="804"/>
                </a:lnTo>
                <a:lnTo>
                  <a:pt x="516" y="810"/>
                </a:lnTo>
                <a:lnTo>
                  <a:pt x="522" y="822"/>
                </a:lnTo>
                <a:lnTo>
                  <a:pt x="534" y="828"/>
                </a:lnTo>
                <a:lnTo>
                  <a:pt x="558" y="828"/>
                </a:lnTo>
                <a:lnTo>
                  <a:pt x="570" y="816"/>
                </a:lnTo>
                <a:lnTo>
                  <a:pt x="570" y="792"/>
                </a:lnTo>
                <a:lnTo>
                  <a:pt x="564" y="780"/>
                </a:lnTo>
                <a:lnTo>
                  <a:pt x="564" y="768"/>
                </a:lnTo>
                <a:lnTo>
                  <a:pt x="570" y="750"/>
                </a:lnTo>
                <a:lnTo>
                  <a:pt x="576" y="738"/>
                </a:lnTo>
                <a:lnTo>
                  <a:pt x="582" y="732"/>
                </a:lnTo>
                <a:lnTo>
                  <a:pt x="582" y="714"/>
                </a:lnTo>
                <a:lnTo>
                  <a:pt x="576" y="702"/>
                </a:lnTo>
                <a:lnTo>
                  <a:pt x="570" y="720"/>
                </a:lnTo>
                <a:close/>
                <a:moveTo>
                  <a:pt x="180" y="468"/>
                </a:moveTo>
                <a:lnTo>
                  <a:pt x="156" y="480"/>
                </a:lnTo>
                <a:lnTo>
                  <a:pt x="150" y="486"/>
                </a:lnTo>
                <a:lnTo>
                  <a:pt x="138" y="492"/>
                </a:lnTo>
                <a:lnTo>
                  <a:pt x="132" y="498"/>
                </a:lnTo>
                <a:lnTo>
                  <a:pt x="126" y="498"/>
                </a:lnTo>
                <a:lnTo>
                  <a:pt x="114" y="492"/>
                </a:lnTo>
                <a:lnTo>
                  <a:pt x="102" y="480"/>
                </a:lnTo>
                <a:lnTo>
                  <a:pt x="96" y="498"/>
                </a:lnTo>
                <a:lnTo>
                  <a:pt x="102" y="504"/>
                </a:lnTo>
                <a:lnTo>
                  <a:pt x="114" y="510"/>
                </a:lnTo>
                <a:lnTo>
                  <a:pt x="120" y="522"/>
                </a:lnTo>
                <a:lnTo>
                  <a:pt x="120" y="540"/>
                </a:lnTo>
                <a:lnTo>
                  <a:pt x="114" y="558"/>
                </a:lnTo>
                <a:lnTo>
                  <a:pt x="114" y="570"/>
                </a:lnTo>
                <a:lnTo>
                  <a:pt x="126" y="582"/>
                </a:lnTo>
                <a:lnTo>
                  <a:pt x="114" y="588"/>
                </a:lnTo>
                <a:lnTo>
                  <a:pt x="120" y="636"/>
                </a:lnTo>
                <a:lnTo>
                  <a:pt x="108" y="636"/>
                </a:lnTo>
                <a:lnTo>
                  <a:pt x="126" y="654"/>
                </a:lnTo>
                <a:lnTo>
                  <a:pt x="138" y="654"/>
                </a:lnTo>
                <a:lnTo>
                  <a:pt x="144" y="642"/>
                </a:lnTo>
                <a:lnTo>
                  <a:pt x="156" y="630"/>
                </a:lnTo>
                <a:lnTo>
                  <a:pt x="156" y="618"/>
                </a:lnTo>
                <a:lnTo>
                  <a:pt x="168" y="630"/>
                </a:lnTo>
                <a:lnTo>
                  <a:pt x="180" y="636"/>
                </a:lnTo>
                <a:lnTo>
                  <a:pt x="186" y="636"/>
                </a:lnTo>
                <a:lnTo>
                  <a:pt x="192" y="630"/>
                </a:lnTo>
                <a:lnTo>
                  <a:pt x="198" y="618"/>
                </a:lnTo>
                <a:lnTo>
                  <a:pt x="198" y="594"/>
                </a:lnTo>
                <a:lnTo>
                  <a:pt x="204" y="582"/>
                </a:lnTo>
                <a:lnTo>
                  <a:pt x="204" y="558"/>
                </a:lnTo>
                <a:lnTo>
                  <a:pt x="198" y="552"/>
                </a:lnTo>
                <a:lnTo>
                  <a:pt x="192" y="552"/>
                </a:lnTo>
                <a:lnTo>
                  <a:pt x="192" y="546"/>
                </a:lnTo>
                <a:lnTo>
                  <a:pt x="198" y="540"/>
                </a:lnTo>
                <a:lnTo>
                  <a:pt x="204" y="540"/>
                </a:lnTo>
                <a:lnTo>
                  <a:pt x="210" y="534"/>
                </a:lnTo>
                <a:lnTo>
                  <a:pt x="210" y="522"/>
                </a:lnTo>
                <a:lnTo>
                  <a:pt x="204" y="510"/>
                </a:lnTo>
                <a:lnTo>
                  <a:pt x="204" y="492"/>
                </a:lnTo>
                <a:lnTo>
                  <a:pt x="198" y="480"/>
                </a:lnTo>
                <a:lnTo>
                  <a:pt x="186" y="474"/>
                </a:lnTo>
                <a:lnTo>
                  <a:pt x="180" y="468"/>
                </a:lnTo>
                <a:close/>
                <a:moveTo>
                  <a:pt x="774" y="546"/>
                </a:moveTo>
                <a:lnTo>
                  <a:pt x="768" y="534"/>
                </a:lnTo>
                <a:lnTo>
                  <a:pt x="756" y="528"/>
                </a:lnTo>
                <a:lnTo>
                  <a:pt x="738" y="510"/>
                </a:lnTo>
                <a:lnTo>
                  <a:pt x="678" y="480"/>
                </a:lnTo>
                <a:lnTo>
                  <a:pt x="672" y="480"/>
                </a:lnTo>
                <a:lnTo>
                  <a:pt x="660" y="474"/>
                </a:lnTo>
                <a:lnTo>
                  <a:pt x="648" y="474"/>
                </a:lnTo>
                <a:lnTo>
                  <a:pt x="630" y="468"/>
                </a:lnTo>
                <a:lnTo>
                  <a:pt x="606" y="456"/>
                </a:lnTo>
                <a:lnTo>
                  <a:pt x="606" y="450"/>
                </a:lnTo>
                <a:lnTo>
                  <a:pt x="612" y="438"/>
                </a:lnTo>
                <a:lnTo>
                  <a:pt x="624" y="426"/>
                </a:lnTo>
                <a:lnTo>
                  <a:pt x="624" y="420"/>
                </a:lnTo>
                <a:lnTo>
                  <a:pt x="618" y="414"/>
                </a:lnTo>
                <a:lnTo>
                  <a:pt x="612" y="414"/>
                </a:lnTo>
                <a:lnTo>
                  <a:pt x="594" y="408"/>
                </a:lnTo>
                <a:lnTo>
                  <a:pt x="552" y="408"/>
                </a:lnTo>
                <a:lnTo>
                  <a:pt x="540" y="402"/>
                </a:lnTo>
                <a:lnTo>
                  <a:pt x="534" y="396"/>
                </a:lnTo>
                <a:lnTo>
                  <a:pt x="516" y="384"/>
                </a:lnTo>
                <a:lnTo>
                  <a:pt x="492" y="360"/>
                </a:lnTo>
                <a:lnTo>
                  <a:pt x="480" y="342"/>
                </a:lnTo>
                <a:lnTo>
                  <a:pt x="474" y="336"/>
                </a:lnTo>
                <a:lnTo>
                  <a:pt x="468" y="324"/>
                </a:lnTo>
                <a:lnTo>
                  <a:pt x="468" y="312"/>
                </a:lnTo>
                <a:lnTo>
                  <a:pt x="450" y="276"/>
                </a:lnTo>
                <a:lnTo>
                  <a:pt x="438" y="270"/>
                </a:lnTo>
                <a:lnTo>
                  <a:pt x="432" y="264"/>
                </a:lnTo>
                <a:lnTo>
                  <a:pt x="420" y="258"/>
                </a:lnTo>
                <a:lnTo>
                  <a:pt x="414" y="252"/>
                </a:lnTo>
                <a:lnTo>
                  <a:pt x="378" y="222"/>
                </a:lnTo>
                <a:lnTo>
                  <a:pt x="372" y="210"/>
                </a:lnTo>
                <a:lnTo>
                  <a:pt x="360" y="198"/>
                </a:lnTo>
                <a:lnTo>
                  <a:pt x="360" y="186"/>
                </a:lnTo>
                <a:lnTo>
                  <a:pt x="366" y="180"/>
                </a:lnTo>
                <a:lnTo>
                  <a:pt x="384" y="180"/>
                </a:lnTo>
                <a:lnTo>
                  <a:pt x="384" y="174"/>
                </a:lnTo>
                <a:lnTo>
                  <a:pt x="372" y="162"/>
                </a:lnTo>
                <a:lnTo>
                  <a:pt x="366" y="150"/>
                </a:lnTo>
                <a:lnTo>
                  <a:pt x="366" y="138"/>
                </a:lnTo>
                <a:lnTo>
                  <a:pt x="402" y="120"/>
                </a:lnTo>
                <a:lnTo>
                  <a:pt x="408" y="114"/>
                </a:lnTo>
                <a:lnTo>
                  <a:pt x="414" y="114"/>
                </a:lnTo>
                <a:lnTo>
                  <a:pt x="438" y="108"/>
                </a:lnTo>
                <a:lnTo>
                  <a:pt x="444" y="72"/>
                </a:lnTo>
                <a:lnTo>
                  <a:pt x="432" y="66"/>
                </a:lnTo>
                <a:lnTo>
                  <a:pt x="438" y="60"/>
                </a:lnTo>
                <a:lnTo>
                  <a:pt x="438" y="42"/>
                </a:lnTo>
                <a:lnTo>
                  <a:pt x="384" y="42"/>
                </a:lnTo>
                <a:lnTo>
                  <a:pt x="378" y="24"/>
                </a:lnTo>
                <a:lnTo>
                  <a:pt x="366" y="24"/>
                </a:lnTo>
                <a:lnTo>
                  <a:pt x="366" y="6"/>
                </a:lnTo>
                <a:lnTo>
                  <a:pt x="360" y="0"/>
                </a:lnTo>
                <a:lnTo>
                  <a:pt x="342" y="0"/>
                </a:lnTo>
                <a:lnTo>
                  <a:pt x="336" y="6"/>
                </a:lnTo>
                <a:lnTo>
                  <a:pt x="336" y="12"/>
                </a:lnTo>
                <a:lnTo>
                  <a:pt x="294" y="12"/>
                </a:lnTo>
                <a:lnTo>
                  <a:pt x="282" y="30"/>
                </a:lnTo>
                <a:lnTo>
                  <a:pt x="270" y="24"/>
                </a:lnTo>
                <a:lnTo>
                  <a:pt x="252" y="24"/>
                </a:lnTo>
                <a:lnTo>
                  <a:pt x="246" y="42"/>
                </a:lnTo>
                <a:lnTo>
                  <a:pt x="222" y="42"/>
                </a:lnTo>
                <a:lnTo>
                  <a:pt x="222" y="48"/>
                </a:lnTo>
                <a:lnTo>
                  <a:pt x="234" y="60"/>
                </a:lnTo>
                <a:lnTo>
                  <a:pt x="228" y="72"/>
                </a:lnTo>
                <a:lnTo>
                  <a:pt x="210" y="60"/>
                </a:lnTo>
                <a:lnTo>
                  <a:pt x="192" y="66"/>
                </a:lnTo>
                <a:lnTo>
                  <a:pt x="180" y="48"/>
                </a:lnTo>
                <a:lnTo>
                  <a:pt x="174" y="72"/>
                </a:lnTo>
                <a:lnTo>
                  <a:pt x="162" y="84"/>
                </a:lnTo>
                <a:lnTo>
                  <a:pt x="162" y="102"/>
                </a:lnTo>
                <a:lnTo>
                  <a:pt x="138" y="78"/>
                </a:lnTo>
                <a:lnTo>
                  <a:pt x="132" y="78"/>
                </a:lnTo>
                <a:lnTo>
                  <a:pt x="132" y="72"/>
                </a:lnTo>
                <a:lnTo>
                  <a:pt x="126" y="66"/>
                </a:lnTo>
                <a:lnTo>
                  <a:pt x="126" y="60"/>
                </a:lnTo>
                <a:lnTo>
                  <a:pt x="120" y="54"/>
                </a:lnTo>
                <a:lnTo>
                  <a:pt x="108" y="54"/>
                </a:lnTo>
                <a:lnTo>
                  <a:pt x="102" y="60"/>
                </a:lnTo>
                <a:lnTo>
                  <a:pt x="102" y="78"/>
                </a:lnTo>
                <a:lnTo>
                  <a:pt x="84" y="96"/>
                </a:lnTo>
                <a:lnTo>
                  <a:pt x="78" y="96"/>
                </a:lnTo>
                <a:lnTo>
                  <a:pt x="66" y="84"/>
                </a:lnTo>
                <a:lnTo>
                  <a:pt x="54" y="84"/>
                </a:lnTo>
                <a:lnTo>
                  <a:pt x="42" y="96"/>
                </a:lnTo>
                <a:lnTo>
                  <a:pt x="30" y="96"/>
                </a:lnTo>
                <a:lnTo>
                  <a:pt x="30" y="102"/>
                </a:lnTo>
                <a:lnTo>
                  <a:pt x="24" y="102"/>
                </a:lnTo>
                <a:lnTo>
                  <a:pt x="18" y="108"/>
                </a:lnTo>
                <a:lnTo>
                  <a:pt x="42" y="132"/>
                </a:lnTo>
                <a:lnTo>
                  <a:pt x="42" y="138"/>
                </a:lnTo>
                <a:lnTo>
                  <a:pt x="24" y="156"/>
                </a:lnTo>
                <a:lnTo>
                  <a:pt x="0" y="156"/>
                </a:lnTo>
                <a:lnTo>
                  <a:pt x="12" y="174"/>
                </a:lnTo>
                <a:lnTo>
                  <a:pt x="24" y="174"/>
                </a:lnTo>
                <a:lnTo>
                  <a:pt x="30" y="180"/>
                </a:lnTo>
                <a:lnTo>
                  <a:pt x="30" y="192"/>
                </a:lnTo>
                <a:lnTo>
                  <a:pt x="24" y="198"/>
                </a:lnTo>
                <a:lnTo>
                  <a:pt x="24" y="204"/>
                </a:lnTo>
                <a:lnTo>
                  <a:pt x="18" y="210"/>
                </a:lnTo>
                <a:lnTo>
                  <a:pt x="18" y="216"/>
                </a:lnTo>
                <a:lnTo>
                  <a:pt x="24" y="222"/>
                </a:lnTo>
                <a:lnTo>
                  <a:pt x="36" y="228"/>
                </a:lnTo>
                <a:lnTo>
                  <a:pt x="42" y="228"/>
                </a:lnTo>
                <a:lnTo>
                  <a:pt x="42" y="234"/>
                </a:lnTo>
                <a:lnTo>
                  <a:pt x="66" y="234"/>
                </a:lnTo>
                <a:lnTo>
                  <a:pt x="72" y="240"/>
                </a:lnTo>
                <a:lnTo>
                  <a:pt x="72" y="246"/>
                </a:lnTo>
                <a:lnTo>
                  <a:pt x="54" y="264"/>
                </a:lnTo>
                <a:lnTo>
                  <a:pt x="54" y="270"/>
                </a:lnTo>
                <a:lnTo>
                  <a:pt x="66" y="270"/>
                </a:lnTo>
                <a:lnTo>
                  <a:pt x="90" y="258"/>
                </a:lnTo>
                <a:lnTo>
                  <a:pt x="120" y="228"/>
                </a:lnTo>
                <a:lnTo>
                  <a:pt x="144" y="216"/>
                </a:lnTo>
                <a:lnTo>
                  <a:pt x="156" y="216"/>
                </a:lnTo>
                <a:lnTo>
                  <a:pt x="168" y="222"/>
                </a:lnTo>
                <a:lnTo>
                  <a:pt x="204" y="234"/>
                </a:lnTo>
                <a:lnTo>
                  <a:pt x="216" y="240"/>
                </a:lnTo>
                <a:lnTo>
                  <a:pt x="228" y="252"/>
                </a:lnTo>
                <a:lnTo>
                  <a:pt x="234" y="264"/>
                </a:lnTo>
                <a:lnTo>
                  <a:pt x="234" y="276"/>
                </a:lnTo>
                <a:lnTo>
                  <a:pt x="240" y="282"/>
                </a:lnTo>
                <a:lnTo>
                  <a:pt x="240" y="288"/>
                </a:lnTo>
                <a:lnTo>
                  <a:pt x="252" y="300"/>
                </a:lnTo>
                <a:lnTo>
                  <a:pt x="252" y="306"/>
                </a:lnTo>
                <a:lnTo>
                  <a:pt x="246" y="318"/>
                </a:lnTo>
                <a:lnTo>
                  <a:pt x="246" y="324"/>
                </a:lnTo>
                <a:lnTo>
                  <a:pt x="258" y="336"/>
                </a:lnTo>
                <a:lnTo>
                  <a:pt x="282" y="348"/>
                </a:lnTo>
                <a:lnTo>
                  <a:pt x="288" y="354"/>
                </a:lnTo>
                <a:lnTo>
                  <a:pt x="294" y="354"/>
                </a:lnTo>
                <a:lnTo>
                  <a:pt x="300" y="372"/>
                </a:lnTo>
                <a:lnTo>
                  <a:pt x="330" y="372"/>
                </a:lnTo>
                <a:lnTo>
                  <a:pt x="348" y="390"/>
                </a:lnTo>
                <a:lnTo>
                  <a:pt x="354" y="402"/>
                </a:lnTo>
                <a:lnTo>
                  <a:pt x="366" y="414"/>
                </a:lnTo>
                <a:lnTo>
                  <a:pt x="378" y="420"/>
                </a:lnTo>
                <a:lnTo>
                  <a:pt x="384" y="432"/>
                </a:lnTo>
                <a:lnTo>
                  <a:pt x="420" y="468"/>
                </a:lnTo>
                <a:lnTo>
                  <a:pt x="456" y="468"/>
                </a:lnTo>
                <a:lnTo>
                  <a:pt x="462" y="474"/>
                </a:lnTo>
                <a:lnTo>
                  <a:pt x="468" y="486"/>
                </a:lnTo>
                <a:lnTo>
                  <a:pt x="492" y="498"/>
                </a:lnTo>
                <a:lnTo>
                  <a:pt x="510" y="504"/>
                </a:lnTo>
                <a:lnTo>
                  <a:pt x="528" y="504"/>
                </a:lnTo>
                <a:lnTo>
                  <a:pt x="540" y="510"/>
                </a:lnTo>
                <a:lnTo>
                  <a:pt x="546" y="510"/>
                </a:lnTo>
                <a:lnTo>
                  <a:pt x="552" y="522"/>
                </a:lnTo>
                <a:lnTo>
                  <a:pt x="552" y="534"/>
                </a:lnTo>
                <a:lnTo>
                  <a:pt x="564" y="558"/>
                </a:lnTo>
                <a:lnTo>
                  <a:pt x="570" y="564"/>
                </a:lnTo>
                <a:lnTo>
                  <a:pt x="582" y="564"/>
                </a:lnTo>
                <a:lnTo>
                  <a:pt x="594" y="558"/>
                </a:lnTo>
                <a:lnTo>
                  <a:pt x="600" y="558"/>
                </a:lnTo>
                <a:lnTo>
                  <a:pt x="600" y="570"/>
                </a:lnTo>
                <a:lnTo>
                  <a:pt x="606" y="582"/>
                </a:lnTo>
                <a:lnTo>
                  <a:pt x="606" y="606"/>
                </a:lnTo>
                <a:lnTo>
                  <a:pt x="612" y="618"/>
                </a:lnTo>
                <a:lnTo>
                  <a:pt x="630" y="636"/>
                </a:lnTo>
                <a:lnTo>
                  <a:pt x="630" y="666"/>
                </a:lnTo>
                <a:lnTo>
                  <a:pt x="612" y="666"/>
                </a:lnTo>
                <a:lnTo>
                  <a:pt x="612" y="690"/>
                </a:lnTo>
                <a:lnTo>
                  <a:pt x="606" y="696"/>
                </a:lnTo>
                <a:lnTo>
                  <a:pt x="600" y="708"/>
                </a:lnTo>
                <a:lnTo>
                  <a:pt x="594" y="714"/>
                </a:lnTo>
                <a:lnTo>
                  <a:pt x="594" y="732"/>
                </a:lnTo>
                <a:lnTo>
                  <a:pt x="606" y="732"/>
                </a:lnTo>
                <a:lnTo>
                  <a:pt x="618" y="726"/>
                </a:lnTo>
                <a:lnTo>
                  <a:pt x="624" y="726"/>
                </a:lnTo>
                <a:lnTo>
                  <a:pt x="636" y="702"/>
                </a:lnTo>
                <a:lnTo>
                  <a:pt x="654" y="696"/>
                </a:lnTo>
                <a:lnTo>
                  <a:pt x="654" y="666"/>
                </a:lnTo>
                <a:lnTo>
                  <a:pt x="666" y="654"/>
                </a:lnTo>
                <a:lnTo>
                  <a:pt x="678" y="654"/>
                </a:lnTo>
                <a:lnTo>
                  <a:pt x="684" y="648"/>
                </a:lnTo>
                <a:lnTo>
                  <a:pt x="696" y="648"/>
                </a:lnTo>
                <a:lnTo>
                  <a:pt x="696" y="636"/>
                </a:lnTo>
                <a:lnTo>
                  <a:pt x="690" y="630"/>
                </a:lnTo>
                <a:lnTo>
                  <a:pt x="690" y="618"/>
                </a:lnTo>
                <a:lnTo>
                  <a:pt x="678" y="606"/>
                </a:lnTo>
                <a:lnTo>
                  <a:pt x="666" y="606"/>
                </a:lnTo>
                <a:lnTo>
                  <a:pt x="648" y="588"/>
                </a:lnTo>
                <a:lnTo>
                  <a:pt x="654" y="582"/>
                </a:lnTo>
                <a:lnTo>
                  <a:pt x="660" y="570"/>
                </a:lnTo>
                <a:lnTo>
                  <a:pt x="666" y="552"/>
                </a:lnTo>
                <a:lnTo>
                  <a:pt x="672" y="540"/>
                </a:lnTo>
                <a:lnTo>
                  <a:pt x="684" y="528"/>
                </a:lnTo>
                <a:lnTo>
                  <a:pt x="690" y="534"/>
                </a:lnTo>
                <a:lnTo>
                  <a:pt x="702" y="534"/>
                </a:lnTo>
                <a:lnTo>
                  <a:pt x="708" y="540"/>
                </a:lnTo>
                <a:lnTo>
                  <a:pt x="738" y="540"/>
                </a:lnTo>
                <a:lnTo>
                  <a:pt x="738" y="552"/>
                </a:lnTo>
                <a:lnTo>
                  <a:pt x="744" y="558"/>
                </a:lnTo>
                <a:lnTo>
                  <a:pt x="744" y="564"/>
                </a:lnTo>
                <a:lnTo>
                  <a:pt x="750" y="576"/>
                </a:lnTo>
                <a:lnTo>
                  <a:pt x="762" y="576"/>
                </a:lnTo>
                <a:lnTo>
                  <a:pt x="774" y="570"/>
                </a:lnTo>
                <a:lnTo>
                  <a:pt x="780" y="564"/>
                </a:lnTo>
                <a:lnTo>
                  <a:pt x="780" y="558"/>
                </a:lnTo>
                <a:lnTo>
                  <a:pt x="774" y="546"/>
                </a:lnTo>
                <a:close/>
              </a:path>
            </a:pathLst>
          </a:custGeom>
          <a:solidFill>
            <a:srgbClr val="7F7F7F"/>
          </a:solidFill>
          <a:ln w="3175" algn="ctr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20000"/>
              </a:spcBef>
              <a:spcAft>
                <a:spcPct val="0"/>
              </a:spcAft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altLang="tr-TR" sz="1462" b="0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166182" y="3087641"/>
            <a:ext cx="1090136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975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Macarista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329544" y="3219742"/>
            <a:ext cx="434137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975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İtalya</a:t>
            </a:r>
          </a:p>
        </p:txBody>
      </p:sp>
      <p:pic>
        <p:nvPicPr>
          <p:cNvPr id="23" name="Picture 349" descr="blau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8772708" y="3593839"/>
            <a:ext cx="185694" cy="314136"/>
          </a:xfrm>
          <a:prstGeom prst="rect">
            <a:avLst/>
          </a:prstGeom>
          <a:noFill/>
        </p:spPr>
      </p:pic>
      <p:pic>
        <p:nvPicPr>
          <p:cNvPr id="24" name="Picture 349" descr="blau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5200993" y="3790449"/>
            <a:ext cx="110650" cy="186487"/>
          </a:xfrm>
          <a:prstGeom prst="rect">
            <a:avLst/>
          </a:prstGeom>
          <a:noFill/>
        </p:spPr>
      </p:pic>
      <p:pic>
        <p:nvPicPr>
          <p:cNvPr id="25" name="Picture 349" descr="blau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4983658" y="3539934"/>
            <a:ext cx="110650" cy="186487"/>
          </a:xfrm>
          <a:prstGeom prst="rect">
            <a:avLst/>
          </a:prstGeom>
          <a:noFill/>
        </p:spPr>
      </p:pic>
      <p:pic>
        <p:nvPicPr>
          <p:cNvPr id="26" name="Picture 349" descr="blau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5133222" y="3200362"/>
            <a:ext cx="110650" cy="186487"/>
          </a:xfrm>
          <a:prstGeom prst="rect">
            <a:avLst/>
          </a:prstGeom>
          <a:noFill/>
        </p:spPr>
      </p:pic>
      <p:pic>
        <p:nvPicPr>
          <p:cNvPr id="27" name="Picture 349" descr="blau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4503236" y="2977750"/>
            <a:ext cx="110650" cy="186487"/>
          </a:xfrm>
          <a:prstGeom prst="rect">
            <a:avLst/>
          </a:prstGeom>
          <a:noFill/>
        </p:spPr>
      </p:pic>
      <p:pic>
        <p:nvPicPr>
          <p:cNvPr id="28" name="Picture 349" descr="blau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4424087" y="2724844"/>
            <a:ext cx="110650" cy="186487"/>
          </a:xfrm>
          <a:prstGeom prst="rect">
            <a:avLst/>
          </a:prstGeom>
          <a:noFill/>
        </p:spPr>
      </p:pic>
      <p:pic>
        <p:nvPicPr>
          <p:cNvPr id="29" name="Picture 349" descr="blau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3738938" y="2237938"/>
            <a:ext cx="110650" cy="186487"/>
          </a:xfrm>
          <a:prstGeom prst="rect">
            <a:avLst/>
          </a:prstGeom>
          <a:noFill/>
        </p:spPr>
      </p:pic>
      <p:pic>
        <p:nvPicPr>
          <p:cNvPr id="30" name="Picture 349" descr="blau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3653031" y="2645793"/>
            <a:ext cx="110650" cy="186487"/>
          </a:xfrm>
          <a:prstGeom prst="rect">
            <a:avLst/>
          </a:prstGeom>
          <a:noFill/>
        </p:spPr>
      </p:pic>
      <p:sp>
        <p:nvSpPr>
          <p:cNvPr id="31" name="5-Point Star 30"/>
          <p:cNvSpPr/>
          <p:nvPr/>
        </p:nvSpPr>
        <p:spPr>
          <a:xfrm>
            <a:off x="3546612" y="3353863"/>
            <a:ext cx="185654" cy="149618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73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5-Point Star 31"/>
          <p:cNvSpPr/>
          <p:nvPr/>
        </p:nvSpPr>
        <p:spPr>
          <a:xfrm>
            <a:off x="5040532" y="3610470"/>
            <a:ext cx="185654" cy="149618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73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5-Point Star 32"/>
          <p:cNvSpPr/>
          <p:nvPr/>
        </p:nvSpPr>
        <p:spPr>
          <a:xfrm>
            <a:off x="5442724" y="3990630"/>
            <a:ext cx="185654" cy="149618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73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5-Point Star 33"/>
          <p:cNvSpPr/>
          <p:nvPr/>
        </p:nvSpPr>
        <p:spPr>
          <a:xfrm>
            <a:off x="5240292" y="3851031"/>
            <a:ext cx="185654" cy="149618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73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5-Point Star 34"/>
          <p:cNvSpPr/>
          <p:nvPr/>
        </p:nvSpPr>
        <p:spPr>
          <a:xfrm>
            <a:off x="5661323" y="4454713"/>
            <a:ext cx="185654" cy="149618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73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5-Point Star 35"/>
          <p:cNvSpPr/>
          <p:nvPr/>
        </p:nvSpPr>
        <p:spPr>
          <a:xfrm>
            <a:off x="8432489" y="4859072"/>
            <a:ext cx="185654" cy="149618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73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5-Point Star 36"/>
          <p:cNvSpPr/>
          <p:nvPr/>
        </p:nvSpPr>
        <p:spPr>
          <a:xfrm>
            <a:off x="5349898" y="5568437"/>
            <a:ext cx="185654" cy="149618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73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5-Point Star 37"/>
          <p:cNvSpPr/>
          <p:nvPr/>
        </p:nvSpPr>
        <p:spPr>
          <a:xfrm>
            <a:off x="8818016" y="3299335"/>
            <a:ext cx="185654" cy="149618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73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5-Point Star 38"/>
          <p:cNvSpPr/>
          <p:nvPr/>
        </p:nvSpPr>
        <p:spPr>
          <a:xfrm>
            <a:off x="7250992" y="1699119"/>
            <a:ext cx="185654" cy="149618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73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5-Point Star 39"/>
          <p:cNvSpPr/>
          <p:nvPr/>
        </p:nvSpPr>
        <p:spPr>
          <a:xfrm>
            <a:off x="5697462" y="4217318"/>
            <a:ext cx="185654" cy="149618"/>
          </a:xfrm>
          <a:prstGeom prst="star5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73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1" name="Picture 349" descr="blau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7491037" y="1671005"/>
            <a:ext cx="133224" cy="224532"/>
          </a:xfrm>
          <a:prstGeom prst="rect">
            <a:avLst/>
          </a:prstGeom>
          <a:noFill/>
        </p:spPr>
      </p:pic>
      <p:pic>
        <p:nvPicPr>
          <p:cNvPr id="42" name="Picture 349" descr="blau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4983658" y="3552589"/>
            <a:ext cx="110650" cy="186487"/>
          </a:xfrm>
          <a:prstGeom prst="rect">
            <a:avLst/>
          </a:prstGeom>
          <a:noFill/>
        </p:spPr>
      </p:pic>
      <p:pic>
        <p:nvPicPr>
          <p:cNvPr id="43" name="Picture 349" descr="blau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5133222" y="3213017"/>
            <a:ext cx="110650" cy="186487"/>
          </a:xfrm>
          <a:prstGeom prst="rect">
            <a:avLst/>
          </a:prstGeom>
          <a:noFill/>
        </p:spPr>
      </p:pic>
      <p:pic>
        <p:nvPicPr>
          <p:cNvPr id="44" name="Picture 349" descr="blau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4503236" y="2990405"/>
            <a:ext cx="110650" cy="186487"/>
          </a:xfrm>
          <a:prstGeom prst="rect">
            <a:avLst/>
          </a:prstGeom>
          <a:noFill/>
        </p:spPr>
      </p:pic>
      <p:pic>
        <p:nvPicPr>
          <p:cNvPr id="45" name="Picture 349" descr="blau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4424087" y="2737499"/>
            <a:ext cx="110650" cy="186487"/>
          </a:xfrm>
          <a:prstGeom prst="rect">
            <a:avLst/>
          </a:prstGeom>
          <a:noFill/>
        </p:spPr>
      </p:pic>
      <p:pic>
        <p:nvPicPr>
          <p:cNvPr id="46" name="Picture 349" descr="blau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3738938" y="2250593"/>
            <a:ext cx="110650" cy="186487"/>
          </a:xfrm>
          <a:prstGeom prst="rect">
            <a:avLst/>
          </a:prstGeom>
          <a:noFill/>
        </p:spPr>
      </p:pic>
      <p:pic>
        <p:nvPicPr>
          <p:cNvPr id="47" name="Picture 349" descr="blau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3653031" y="2658447"/>
            <a:ext cx="110650" cy="186487"/>
          </a:xfrm>
          <a:prstGeom prst="rect">
            <a:avLst/>
          </a:prstGeom>
          <a:noFill/>
        </p:spPr>
      </p:pic>
      <p:sp>
        <p:nvSpPr>
          <p:cNvPr id="48" name="TextBox 47"/>
          <p:cNvSpPr txBox="1"/>
          <p:nvPr/>
        </p:nvSpPr>
        <p:spPr>
          <a:xfrm>
            <a:off x="486965" y="2923986"/>
            <a:ext cx="5262980" cy="3129446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88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8081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</a:t>
            </a:r>
            <a:r>
              <a:rPr kumimoji="0" lang="tr-TR" sz="3574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tr-TR" sz="2437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lk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3574" b="1" i="0" u="none" strike="noStrike" kern="1200" cap="none" spc="0" normalizeH="0" baseline="0" noProof="0" dirty="0">
              <a:ln>
                <a:noFill/>
              </a:ln>
              <a:solidFill>
                <a:srgbClr val="3F81B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9144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8081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7</a:t>
            </a:r>
            <a:r>
              <a:rPr kumimoji="0" lang="tr-TR" sz="3574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tr-TR" sz="2437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Üretim T</a:t>
            </a:r>
            <a:r>
              <a:rPr kumimoji="0" lang="tr-TR" sz="2193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is</a:t>
            </a:r>
            <a:r>
              <a:rPr kumimoji="0" lang="tr-TR" sz="2437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</a:t>
            </a:r>
            <a:endParaRPr kumimoji="0" lang="en-US" sz="3574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11" y="0"/>
            <a:ext cx="9902825" cy="1445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830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repeatCount="indefinite" fill="remove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6" dur="375" autoRev="1" fill="remove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375" autoRev="1" fill="remove"/>
                                        <p:tgtEl>
                                          <p:spTgt spid="3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375" autoRev="1" fill="remove"/>
                                        <p:tgtEl>
                                          <p:spTgt spid="3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375" autoRev="1" fill="remove"/>
                                        <p:tgtEl>
                                          <p:spTgt spid="3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27" presetClass="emph" presetSubtype="0" repeatCount="indefinite" fill="remove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11" dur="375" autoRev="1" fill="remove"/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2" dur="375" autoRev="1" fill="remove"/>
                                        <p:tgtEl>
                                          <p:spTgt spid="3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13" dur="375" autoRev="1" fill="remove"/>
                                        <p:tgtEl>
                                          <p:spTgt spid="3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4" dur="375" autoRev="1" fill="remove"/>
                                        <p:tgtEl>
                                          <p:spTgt spid="3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27" presetClass="emph" presetSubtype="0" repeatCount="indefinite" fill="remove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16" dur="375" autoRev="1" fill="remove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7" dur="375" autoRev="1" fill="remove"/>
                                        <p:tgtEl>
                                          <p:spTgt spid="3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18" dur="375" autoRev="1" fill="remove"/>
                                        <p:tgtEl>
                                          <p:spTgt spid="3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9" dur="375" autoRev="1" fill="remove"/>
                                        <p:tgtEl>
                                          <p:spTgt spid="3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27" presetClass="emph" presetSubtype="0" repeatCount="indefinite" fill="remove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21" dur="375" autoRev="1" fill="remove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22" dur="375" autoRev="1" fill="remove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3" dur="375" autoRev="1" fill="remove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4" dur="375" autoRev="1" fill="remove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27" presetClass="emph" presetSubtype="0" repeatCount="indefinite" fill="remove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26" dur="375" autoRev="1" fill="remove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27" dur="375" autoRev="1" fill="remove"/>
                                        <p:tgtEl>
                                          <p:spTgt spid="4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8" dur="375" autoRev="1" fill="remove"/>
                                        <p:tgtEl>
                                          <p:spTgt spid="4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9" dur="375" autoRev="1" fill="remove"/>
                                        <p:tgtEl>
                                          <p:spTgt spid="4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27" presetClass="emph" presetSubtype="0" repeatCount="indefinite" fill="remove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31" dur="375" autoRev="1" fill="remove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2" dur="375" autoRev="1" fill="remove"/>
                                        <p:tgtEl>
                                          <p:spTgt spid="3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3" dur="375" autoRev="1" fill="remove"/>
                                        <p:tgtEl>
                                          <p:spTgt spid="3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4" dur="375" autoRev="1" fill="remove"/>
                                        <p:tgtEl>
                                          <p:spTgt spid="3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27" presetClass="emph" presetSubtype="0" repeatCount="indefinite" fill="remove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36" dur="375" autoRev="1" fill="remove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7" dur="375" autoRev="1" fill="remove"/>
                                        <p:tgtEl>
                                          <p:spTgt spid="3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8" dur="375" autoRev="1" fill="remove"/>
                                        <p:tgtEl>
                                          <p:spTgt spid="3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9" dur="375" autoRev="1" fill="remove"/>
                                        <p:tgtEl>
                                          <p:spTgt spid="3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27" presetClass="emph" presetSubtype="0" repeatCount="indefinite" fill="remove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41" dur="375" autoRev="1" fill="remove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42" dur="375" autoRev="1" fill="remove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43" dur="375" autoRev="1" fill="remove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4" dur="375" autoRev="1" fill="remove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27" presetClass="emph" presetSubtype="0" repeatCount="indefinite" fill="remove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46" dur="375" autoRev="1" fill="remove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47" dur="375" autoRev="1" fill="remove"/>
                                        <p:tgtEl>
                                          <p:spTgt spid="3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48" dur="375" autoRev="1" fill="remove"/>
                                        <p:tgtEl>
                                          <p:spTgt spid="3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9" dur="375" autoRev="1" fill="remove"/>
                                        <p:tgtEl>
                                          <p:spTgt spid="3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9" grpId="0" animBg="1"/>
      <p:bldP spid="4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37" b="-271"/>
          <a:stretch/>
        </p:blipFill>
        <p:spPr>
          <a:xfrm flipH="1">
            <a:off x="-2" y="1445177"/>
            <a:ext cx="9902825" cy="5412823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370012" y="1445176"/>
            <a:ext cx="4880483" cy="1092350"/>
          </a:xfrm>
          <a:prstGeom prst="rect">
            <a:avLst/>
          </a:prstGeom>
          <a:solidFill>
            <a:srgbClr val="1B5D2C">
              <a:alpha val="50196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24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Doğaya ve İnsana Saygılı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24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Yenilikçi Cam Çözümleri</a:t>
            </a:r>
            <a:endParaRPr kumimoji="0" lang="en-US" sz="3249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2825" cy="1445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985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0" y="1403222"/>
            <a:ext cx="9902825" cy="5454778"/>
            <a:chOff x="2342721" y="160328"/>
            <a:chExt cx="22044455" cy="13147320"/>
          </a:xfrm>
        </p:grpSpPr>
        <p:grpSp>
          <p:nvGrpSpPr>
            <p:cNvPr id="5" name="Group 4"/>
            <p:cNvGrpSpPr/>
            <p:nvPr/>
          </p:nvGrpSpPr>
          <p:grpSpPr>
            <a:xfrm>
              <a:off x="2342721" y="160328"/>
              <a:ext cx="22044454" cy="13147320"/>
              <a:chOff x="3361036" y="156782"/>
              <a:chExt cx="19559676" cy="12665458"/>
            </a:xfrm>
          </p:grpSpPr>
          <p:pic>
            <p:nvPicPr>
              <p:cNvPr id="11" name="Picture 10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361036" y="5711956"/>
                <a:ext cx="10562263" cy="711028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0" name="Picture 9"/>
              <p:cNvPicPr>
                <a:picLocks noChangeAspect="1"/>
              </p:cNvPicPr>
              <p:nvPr/>
            </p:nvPicPr>
            <p:blipFill rotWithShape="1">
              <a:blip r:embed="rId3"/>
              <a:srcRect t="6708" b="11667"/>
              <a:stretch/>
            </p:blipFill>
            <p:spPr>
              <a:xfrm>
                <a:off x="12818096" y="160232"/>
                <a:ext cx="10102616" cy="656984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2" name="Picture 11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567719" y="6250641"/>
                <a:ext cx="9352993" cy="6571599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3" name="Picture 12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361036" y="156782"/>
                <a:ext cx="10217416" cy="6586422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  <p:sp>
          <p:nvSpPr>
            <p:cNvPr id="6" name="TextBox 5"/>
            <p:cNvSpPr txBox="1"/>
            <p:nvPr/>
          </p:nvSpPr>
          <p:spPr>
            <a:xfrm>
              <a:off x="8611994" y="2132341"/>
              <a:ext cx="5266216" cy="2078869"/>
            </a:xfrm>
            <a:prstGeom prst="rect">
              <a:avLst/>
            </a:prstGeom>
            <a:solidFill>
              <a:srgbClr val="F4F4F4">
                <a:alpha val="60000"/>
              </a:srgbClr>
            </a:soli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243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imari Camlar</a:t>
              </a:r>
              <a:endParaRPr kumimoji="0" lang="en-US" sz="243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7337811" y="7928492"/>
              <a:ext cx="6508207" cy="1153364"/>
            </a:xfrm>
            <a:prstGeom prst="rect">
              <a:avLst/>
            </a:prstGeom>
            <a:solidFill>
              <a:srgbClr val="F4F4F4">
                <a:alpha val="60000"/>
              </a:srgbClr>
            </a:soli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243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tomotiv Camları</a:t>
              </a:r>
              <a:endParaRPr kumimoji="0" lang="en-US" sz="243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16740002" y="7148666"/>
              <a:ext cx="7647174" cy="2078869"/>
            </a:xfrm>
            <a:prstGeom prst="rect">
              <a:avLst/>
            </a:prstGeom>
            <a:solidFill>
              <a:srgbClr val="F4F4F4">
                <a:alpha val="60000"/>
              </a:srgbClr>
            </a:soli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243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üneş Enerjisi Camları</a:t>
              </a:r>
              <a:endParaRPr kumimoji="0" lang="en-US" sz="243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3846018" y="5078575"/>
              <a:ext cx="6471205" cy="2078869"/>
            </a:xfrm>
            <a:prstGeom prst="rect">
              <a:avLst/>
            </a:prstGeom>
            <a:solidFill>
              <a:srgbClr val="F4F4F4">
                <a:alpha val="60000"/>
              </a:srgbClr>
            </a:soli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243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eyaz Eşya Camları</a:t>
              </a:r>
              <a:endParaRPr kumimoji="0" lang="en-US" sz="243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-7031" y="1408788"/>
            <a:ext cx="9889793" cy="642355"/>
          </a:xfrm>
          <a:prstGeom prst="rect">
            <a:avLst/>
          </a:prstGeom>
          <a:solidFill>
            <a:srgbClr val="17375E">
              <a:alpha val="56863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574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aliyet Alanları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1956"/>
            <a:ext cx="9902825" cy="1445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505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0" y="1066800"/>
            <a:ext cx="10056812" cy="5791200"/>
            <a:chOff x="1382088" y="707586"/>
            <a:chExt cx="8721119" cy="5317912"/>
          </a:xfrm>
        </p:grpSpPr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82088" y="707623"/>
              <a:ext cx="8312053" cy="5313261"/>
            </a:xfrm>
            <a:prstGeom prst="rect">
              <a:avLst/>
            </a:prstGeom>
          </p:spPr>
        </p:pic>
        <p:grpSp>
          <p:nvGrpSpPr>
            <p:cNvPr id="26" name="Group 25"/>
            <p:cNvGrpSpPr/>
            <p:nvPr/>
          </p:nvGrpSpPr>
          <p:grpSpPr>
            <a:xfrm>
              <a:off x="1494361" y="1190638"/>
              <a:ext cx="3987312" cy="4371244"/>
              <a:chOff x="2496180" y="1104754"/>
              <a:chExt cx="9819347" cy="10764837"/>
            </a:xfrm>
          </p:grpSpPr>
          <p:sp>
            <p:nvSpPr>
              <p:cNvPr id="5" name="Oval 4"/>
              <p:cNvSpPr/>
              <p:nvPr/>
            </p:nvSpPr>
            <p:spPr>
              <a:xfrm>
                <a:off x="4709758" y="1104754"/>
                <a:ext cx="1937670" cy="1937670"/>
              </a:xfrm>
              <a:prstGeom prst="ellipse">
                <a:avLst/>
              </a:prstGeom>
              <a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 l="-29000" r="-29000"/>
                </a:stretch>
              </a:blip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5">
                  <a:tint val="50000"/>
                  <a:hueOff val="-2154969"/>
                  <a:satOff val="9275"/>
                  <a:lumOff val="2507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  <p:grpSp>
            <p:nvGrpSpPr>
              <p:cNvPr id="6" name="Group 5"/>
              <p:cNvGrpSpPr/>
              <p:nvPr/>
            </p:nvGrpSpPr>
            <p:grpSpPr>
              <a:xfrm>
                <a:off x="6647429" y="1104754"/>
                <a:ext cx="5668098" cy="1937670"/>
                <a:chOff x="17123301" y="2012791"/>
                <a:chExt cx="5668098" cy="1937670"/>
              </a:xfrm>
            </p:grpSpPr>
            <p:sp>
              <p:nvSpPr>
                <p:cNvPr id="23" name="Rectangle 22"/>
                <p:cNvSpPr/>
                <p:nvPr/>
              </p:nvSpPr>
              <p:spPr>
                <a:xfrm>
                  <a:off x="17123301" y="2012791"/>
                  <a:ext cx="4261772" cy="1937670"/>
                </a:xfrm>
                <a:prstGeom prst="rect">
                  <a:avLst/>
                </a:prstGeom>
              </p:spPr>
              <p:style>
                <a:lnRef idx="0">
                  <a:schemeClr val="dk1">
                    <a:alpha val="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24" name="Rectangle 23"/>
                <p:cNvSpPr/>
                <p:nvPr/>
              </p:nvSpPr>
              <p:spPr>
                <a:xfrm>
                  <a:off x="17123301" y="2012791"/>
                  <a:ext cx="5668098" cy="1937670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68073" tIns="0" rIns="68073" bIns="0" numCol="1" spcCol="1270" anchor="ctr" anchorCtr="0">
                  <a:noAutofit/>
                </a:bodyPr>
                <a:lstStyle/>
                <a:p>
                  <a:pPr marL="0" marR="0" lvl="0" indent="0" algn="l" defTabSz="794250" rtl="0" eaLnBrk="1" fontAlgn="auto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tr-TR" sz="1787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oğal Gün Işığı ile Sağlık ve Konfor</a:t>
                  </a:r>
                  <a:endParaRPr kumimoji="0" lang="tr-TR" sz="1787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7" name="Oval 6"/>
              <p:cNvSpPr/>
              <p:nvPr/>
            </p:nvSpPr>
            <p:spPr>
              <a:xfrm>
                <a:off x="2976584" y="7994250"/>
                <a:ext cx="1937670" cy="1937670"/>
              </a:xfrm>
              <a:prstGeom prst="ellipse">
                <a:avLst/>
              </a:prstGeom>
              <a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 t="-29000" b="-29000"/>
                </a:stretch>
              </a:blip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5">
                  <a:tint val="50000"/>
                  <a:hueOff val="-4309938"/>
                  <a:satOff val="18550"/>
                  <a:lumOff val="5015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  <p:grpSp>
            <p:nvGrpSpPr>
              <p:cNvPr id="8" name="Group 7"/>
              <p:cNvGrpSpPr/>
              <p:nvPr/>
            </p:nvGrpSpPr>
            <p:grpSpPr>
              <a:xfrm>
                <a:off x="4956273" y="3209839"/>
                <a:ext cx="6150439" cy="6623136"/>
                <a:chOff x="15432145" y="4117876"/>
                <a:chExt cx="6150439" cy="6623136"/>
              </a:xfrm>
            </p:grpSpPr>
            <p:sp>
              <p:nvSpPr>
                <p:cNvPr id="21" name="Rectangle 20"/>
                <p:cNvSpPr/>
                <p:nvPr/>
              </p:nvSpPr>
              <p:spPr>
                <a:xfrm>
                  <a:off x="15432145" y="4117876"/>
                  <a:ext cx="5952596" cy="1937670"/>
                </a:xfrm>
                <a:prstGeom prst="rect">
                  <a:avLst/>
                </a:prstGeom>
              </p:spPr>
              <p:style>
                <a:lnRef idx="0">
                  <a:schemeClr val="dk1">
                    <a:alpha val="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22" name="Rectangle 21"/>
                <p:cNvSpPr/>
                <p:nvPr/>
              </p:nvSpPr>
              <p:spPr>
                <a:xfrm>
                  <a:off x="15629988" y="8803342"/>
                  <a:ext cx="5952596" cy="1937670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68073" tIns="0" rIns="68073" bIns="0" numCol="1" spcCol="1270" anchor="ctr" anchorCtr="0">
                  <a:noAutofit/>
                </a:bodyPr>
                <a:lstStyle/>
                <a:p>
                  <a:pPr marL="0" marR="0" lvl="0" indent="0" algn="l" defTabSz="794250" rtl="0" eaLnBrk="1" fontAlgn="auto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tr-TR" sz="1787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Enerji Verimliliği</a:t>
                  </a:r>
                  <a:endParaRPr kumimoji="0" lang="tr-TR" sz="1787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9" name="Oval 8"/>
              <p:cNvSpPr/>
              <p:nvPr/>
            </p:nvSpPr>
            <p:spPr>
              <a:xfrm>
                <a:off x="3018603" y="3067843"/>
                <a:ext cx="1937670" cy="1937670"/>
              </a:xfrm>
              <a:prstGeom prst="ellipse">
                <a:avLst/>
              </a:prstGeom>
              <a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 l="-24000" r="-24000"/>
                </a:stretch>
              </a:blip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5">
                  <a:tint val="50000"/>
                  <a:hueOff val="-6464908"/>
                  <a:satOff val="27825"/>
                  <a:lumOff val="7522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  <p:grpSp>
            <p:nvGrpSpPr>
              <p:cNvPr id="10" name="Group 9"/>
              <p:cNvGrpSpPr/>
              <p:nvPr/>
            </p:nvGrpSpPr>
            <p:grpSpPr>
              <a:xfrm>
                <a:off x="4345906" y="3436196"/>
                <a:ext cx="7426811" cy="4019811"/>
                <a:chOff x="14821778" y="4344233"/>
                <a:chExt cx="7426811" cy="4019811"/>
              </a:xfrm>
            </p:grpSpPr>
            <p:sp>
              <p:nvSpPr>
                <p:cNvPr id="19" name="Rectangle 18"/>
                <p:cNvSpPr/>
                <p:nvPr/>
              </p:nvSpPr>
              <p:spPr>
                <a:xfrm>
                  <a:off x="14821778" y="6426374"/>
                  <a:ext cx="6561126" cy="1937670"/>
                </a:xfrm>
                <a:prstGeom prst="rect">
                  <a:avLst/>
                </a:prstGeom>
              </p:spPr>
              <p:style>
                <a:lnRef idx="0">
                  <a:schemeClr val="dk1">
                    <a:alpha val="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20" name="Rectangle 19"/>
                <p:cNvSpPr/>
                <p:nvPr/>
              </p:nvSpPr>
              <p:spPr>
                <a:xfrm>
                  <a:off x="15687463" y="4344233"/>
                  <a:ext cx="6561126" cy="1937670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68073" tIns="0" rIns="68073" bIns="0" numCol="1" spcCol="1270" anchor="ctr" anchorCtr="0">
                  <a:noAutofit/>
                </a:bodyPr>
                <a:lstStyle/>
                <a:p>
                  <a:pPr marL="0" marR="0" lvl="0" indent="0" algn="l" defTabSz="794250" rtl="0" eaLnBrk="1" fontAlgn="auto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tr-TR" sz="1787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Emniyet ve Güvenlik</a:t>
                  </a:r>
                  <a:endParaRPr kumimoji="0" lang="tr-TR" sz="1787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" name="Oval 10"/>
              <p:cNvSpPr/>
              <p:nvPr/>
            </p:nvSpPr>
            <p:spPr>
              <a:xfrm>
                <a:off x="2496180" y="5495481"/>
                <a:ext cx="1937670" cy="1937670"/>
              </a:xfrm>
              <a:prstGeom prst="ellipse">
                <a:avLst/>
              </a:prstGeom>
              <a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5">
                  <a:tint val="50000"/>
                  <a:hueOff val="-8619877"/>
                  <a:satOff val="37100"/>
                  <a:lumOff val="1003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  <p:grpSp>
            <p:nvGrpSpPr>
              <p:cNvPr id="12" name="Group 11"/>
              <p:cNvGrpSpPr/>
              <p:nvPr/>
            </p:nvGrpSpPr>
            <p:grpSpPr>
              <a:xfrm>
                <a:off x="4648919" y="5600223"/>
                <a:ext cx="6262453" cy="4428580"/>
                <a:chOff x="15124791" y="6508260"/>
                <a:chExt cx="6262453" cy="4428580"/>
              </a:xfrm>
            </p:grpSpPr>
            <p:sp>
              <p:nvSpPr>
                <p:cNvPr id="17" name="Rectangle 16"/>
                <p:cNvSpPr/>
                <p:nvPr/>
              </p:nvSpPr>
              <p:spPr>
                <a:xfrm>
                  <a:off x="15432145" y="8999170"/>
                  <a:ext cx="5955099" cy="1937670"/>
                </a:xfrm>
                <a:prstGeom prst="rect">
                  <a:avLst/>
                </a:prstGeom>
              </p:spPr>
              <p:style>
                <a:lnRef idx="0">
                  <a:schemeClr val="dk1">
                    <a:alpha val="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18" name="Rectangle 17"/>
                <p:cNvSpPr/>
                <p:nvPr/>
              </p:nvSpPr>
              <p:spPr>
                <a:xfrm>
                  <a:off x="15124791" y="6508260"/>
                  <a:ext cx="5955099" cy="1937670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68073" tIns="0" rIns="68073" bIns="0" numCol="1" spcCol="1270" anchor="ctr" anchorCtr="0">
                  <a:noAutofit/>
                </a:bodyPr>
                <a:lstStyle/>
                <a:p>
                  <a:pPr marL="0" marR="0" lvl="0" indent="0" algn="l" defTabSz="794250" rtl="0" eaLnBrk="1" fontAlgn="auto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tr-TR" sz="1787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Gürültü Kontrolü</a:t>
                  </a:r>
                  <a:endParaRPr kumimoji="0" lang="tr-TR" sz="1787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" name="Oval 12"/>
              <p:cNvSpPr/>
              <p:nvPr/>
            </p:nvSpPr>
            <p:spPr>
              <a:xfrm>
                <a:off x="4709758" y="9931921"/>
                <a:ext cx="1937670" cy="1937670"/>
              </a:xfrm>
              <a:prstGeom prst="ellipse">
                <a:avLst/>
              </a:prstGeom>
              <a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 l="-21000" r="-21000"/>
                </a:stretch>
              </a:blip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5">
                  <a:tint val="50000"/>
                  <a:hueOff val="-10774846"/>
                  <a:satOff val="46375"/>
                  <a:lumOff val="12537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  <p:grpSp>
            <p:nvGrpSpPr>
              <p:cNvPr id="14" name="Group 13"/>
              <p:cNvGrpSpPr/>
              <p:nvPr/>
            </p:nvGrpSpPr>
            <p:grpSpPr>
              <a:xfrm>
                <a:off x="6647429" y="9931921"/>
                <a:ext cx="4264927" cy="1937670"/>
                <a:chOff x="17123301" y="10839958"/>
                <a:chExt cx="4264927" cy="1937670"/>
              </a:xfrm>
            </p:grpSpPr>
            <p:sp>
              <p:nvSpPr>
                <p:cNvPr id="15" name="Rectangle 14"/>
                <p:cNvSpPr/>
                <p:nvPr/>
              </p:nvSpPr>
              <p:spPr>
                <a:xfrm>
                  <a:off x="17123301" y="10839958"/>
                  <a:ext cx="4264927" cy="1937670"/>
                </a:xfrm>
                <a:prstGeom prst="rect">
                  <a:avLst/>
                </a:prstGeom>
              </p:spPr>
              <p:style>
                <a:lnRef idx="0">
                  <a:schemeClr val="dk1">
                    <a:alpha val="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alpha val="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16" name="Rectangle 15"/>
                <p:cNvSpPr/>
                <p:nvPr/>
              </p:nvSpPr>
              <p:spPr>
                <a:xfrm>
                  <a:off x="17123301" y="10839958"/>
                  <a:ext cx="4264927" cy="1937670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68073" tIns="0" rIns="68073" bIns="0" numCol="1" spcCol="1270" anchor="ctr" anchorCtr="0">
                  <a:noAutofit/>
                </a:bodyPr>
                <a:lstStyle/>
                <a:p>
                  <a:pPr marL="0" marR="0" lvl="0" indent="0" algn="l" defTabSz="794250" rtl="0" eaLnBrk="1" fontAlgn="auto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tr-TR" sz="1787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Estetik ve Dekorasyon</a:t>
                  </a:r>
                  <a:endParaRPr kumimoji="0" lang="tr-TR" sz="1787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41224" y="707586"/>
              <a:ext cx="5711647" cy="5317912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/>
          </p:nvSpPr>
          <p:spPr>
            <a:xfrm>
              <a:off x="4922206" y="2660176"/>
              <a:ext cx="5181001" cy="119237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3574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arklı İhtiyaçlara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3574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oğru Cam Çözümleri</a:t>
              </a:r>
              <a:endParaRPr kumimoji="0" lang="en-US" sz="3574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29" name="Picture 2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2825" cy="1445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642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511" r="21539" b="20675"/>
          <a:stretch/>
        </p:blipFill>
        <p:spPr>
          <a:xfrm>
            <a:off x="0" y="630884"/>
            <a:ext cx="9922164" cy="622711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78257" y="1532379"/>
            <a:ext cx="5785542" cy="810991"/>
          </a:xfrm>
          <a:prstGeom prst="rect">
            <a:avLst/>
          </a:prstGeom>
          <a:solidFill>
            <a:srgbClr val="17375E">
              <a:alpha val="6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67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ürültü Kontrolü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39" y="0"/>
            <a:ext cx="9902825" cy="1445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155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t="5478" r="4292"/>
          <a:stretch/>
        </p:blipFill>
        <p:spPr>
          <a:xfrm>
            <a:off x="-18560" y="1371600"/>
            <a:ext cx="9891222" cy="54864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-11908" y="1295400"/>
            <a:ext cx="9965050" cy="2604431"/>
          </a:xfrm>
          <a:custGeom>
            <a:avLst/>
            <a:gdLst>
              <a:gd name="connsiteX0" fmla="*/ 0 w 24387175"/>
              <a:gd name="connsiteY0" fmla="*/ 0 h 4154984"/>
              <a:gd name="connsiteX1" fmla="*/ 24387175 w 24387175"/>
              <a:gd name="connsiteY1" fmla="*/ 0 h 4154984"/>
              <a:gd name="connsiteX2" fmla="*/ 24387175 w 24387175"/>
              <a:gd name="connsiteY2" fmla="*/ 4154984 h 4154984"/>
              <a:gd name="connsiteX3" fmla="*/ 0 w 24387175"/>
              <a:gd name="connsiteY3" fmla="*/ 4154984 h 4154984"/>
              <a:gd name="connsiteX4" fmla="*/ 0 w 24387175"/>
              <a:gd name="connsiteY4" fmla="*/ 0 h 4154984"/>
              <a:gd name="connsiteX0" fmla="*/ 0 w 24387175"/>
              <a:gd name="connsiteY0" fmla="*/ 0 h 4154984"/>
              <a:gd name="connsiteX1" fmla="*/ 24387175 w 24387175"/>
              <a:gd name="connsiteY1" fmla="*/ 0 h 4154984"/>
              <a:gd name="connsiteX2" fmla="*/ 24387175 w 24387175"/>
              <a:gd name="connsiteY2" fmla="*/ 4154984 h 4154984"/>
              <a:gd name="connsiteX3" fmla="*/ 50800 w 24387175"/>
              <a:gd name="connsiteY3" fmla="*/ 3773984 h 4154984"/>
              <a:gd name="connsiteX4" fmla="*/ 0 w 24387175"/>
              <a:gd name="connsiteY4" fmla="*/ 0 h 4154984"/>
              <a:gd name="connsiteX0" fmla="*/ 0 w 24387175"/>
              <a:gd name="connsiteY0" fmla="*/ 0 h 4561384"/>
              <a:gd name="connsiteX1" fmla="*/ 24387175 w 24387175"/>
              <a:gd name="connsiteY1" fmla="*/ 0 h 4561384"/>
              <a:gd name="connsiteX2" fmla="*/ 24336376 w 24387175"/>
              <a:gd name="connsiteY2" fmla="*/ 4561384 h 4561384"/>
              <a:gd name="connsiteX3" fmla="*/ 50800 w 24387175"/>
              <a:gd name="connsiteY3" fmla="*/ 3773984 h 4561384"/>
              <a:gd name="connsiteX4" fmla="*/ 0 w 24387175"/>
              <a:gd name="connsiteY4" fmla="*/ 0 h 4561384"/>
              <a:gd name="connsiteX0" fmla="*/ 0 w 24387175"/>
              <a:gd name="connsiteY0" fmla="*/ 0 h 4943189"/>
              <a:gd name="connsiteX1" fmla="*/ 24387175 w 24387175"/>
              <a:gd name="connsiteY1" fmla="*/ 0 h 4943189"/>
              <a:gd name="connsiteX2" fmla="*/ 24336376 w 24387175"/>
              <a:gd name="connsiteY2" fmla="*/ 4561384 h 4943189"/>
              <a:gd name="connsiteX3" fmla="*/ 50800 w 24387175"/>
              <a:gd name="connsiteY3" fmla="*/ 3773984 h 4943189"/>
              <a:gd name="connsiteX4" fmla="*/ 0 w 24387175"/>
              <a:gd name="connsiteY4" fmla="*/ 0 h 4943189"/>
              <a:gd name="connsiteX0" fmla="*/ 0 w 24387175"/>
              <a:gd name="connsiteY0" fmla="*/ 0 h 4975358"/>
              <a:gd name="connsiteX1" fmla="*/ 24387175 w 24387175"/>
              <a:gd name="connsiteY1" fmla="*/ 0 h 4975358"/>
              <a:gd name="connsiteX2" fmla="*/ 24336376 w 24387175"/>
              <a:gd name="connsiteY2" fmla="*/ 4561384 h 4975358"/>
              <a:gd name="connsiteX3" fmla="*/ 50800 w 24387175"/>
              <a:gd name="connsiteY3" fmla="*/ 3773984 h 4975358"/>
              <a:gd name="connsiteX4" fmla="*/ 0 w 24387175"/>
              <a:gd name="connsiteY4" fmla="*/ 0 h 4975358"/>
              <a:gd name="connsiteX0" fmla="*/ 0 w 24387175"/>
              <a:gd name="connsiteY0" fmla="*/ 0 h 4979437"/>
              <a:gd name="connsiteX1" fmla="*/ 24387175 w 24387175"/>
              <a:gd name="connsiteY1" fmla="*/ 0 h 4979437"/>
              <a:gd name="connsiteX2" fmla="*/ 24336376 w 24387175"/>
              <a:gd name="connsiteY2" fmla="*/ 4561384 h 4979437"/>
              <a:gd name="connsiteX3" fmla="*/ 25400 w 24387175"/>
              <a:gd name="connsiteY3" fmla="*/ 3799384 h 4979437"/>
              <a:gd name="connsiteX4" fmla="*/ 0 w 24387175"/>
              <a:gd name="connsiteY4" fmla="*/ 0 h 4979437"/>
              <a:gd name="connsiteX0" fmla="*/ 0 w 24387175"/>
              <a:gd name="connsiteY0" fmla="*/ 0 h 5612869"/>
              <a:gd name="connsiteX1" fmla="*/ 24387175 w 24387175"/>
              <a:gd name="connsiteY1" fmla="*/ 0 h 5612869"/>
              <a:gd name="connsiteX2" fmla="*/ 24336376 w 24387175"/>
              <a:gd name="connsiteY2" fmla="*/ 4561384 h 5612869"/>
              <a:gd name="connsiteX3" fmla="*/ 13817600 w 24387175"/>
              <a:gd name="connsiteY3" fmla="*/ 5587999 h 5612869"/>
              <a:gd name="connsiteX4" fmla="*/ 25400 w 24387175"/>
              <a:gd name="connsiteY4" fmla="*/ 3799384 h 5612869"/>
              <a:gd name="connsiteX5" fmla="*/ 0 w 24387175"/>
              <a:gd name="connsiteY5" fmla="*/ 0 h 5612869"/>
              <a:gd name="connsiteX0" fmla="*/ 0 w 24387175"/>
              <a:gd name="connsiteY0" fmla="*/ 0 h 5612869"/>
              <a:gd name="connsiteX1" fmla="*/ 24387175 w 24387175"/>
              <a:gd name="connsiteY1" fmla="*/ 0 h 5612869"/>
              <a:gd name="connsiteX2" fmla="*/ 24336376 w 24387175"/>
              <a:gd name="connsiteY2" fmla="*/ 4561384 h 5612869"/>
              <a:gd name="connsiteX3" fmla="*/ 13817600 w 24387175"/>
              <a:gd name="connsiteY3" fmla="*/ 5587999 h 5612869"/>
              <a:gd name="connsiteX4" fmla="*/ 25400 w 24387175"/>
              <a:gd name="connsiteY4" fmla="*/ 3799384 h 5612869"/>
              <a:gd name="connsiteX5" fmla="*/ 0 w 24387175"/>
              <a:gd name="connsiteY5" fmla="*/ 0 h 5612869"/>
              <a:gd name="connsiteX0" fmla="*/ 0 w 24387175"/>
              <a:gd name="connsiteY0" fmla="*/ 0 h 5671864"/>
              <a:gd name="connsiteX1" fmla="*/ 24387175 w 24387175"/>
              <a:gd name="connsiteY1" fmla="*/ 0 h 5671864"/>
              <a:gd name="connsiteX2" fmla="*/ 24336376 w 24387175"/>
              <a:gd name="connsiteY2" fmla="*/ 4561384 h 5671864"/>
              <a:gd name="connsiteX3" fmla="*/ 18897600 w 24387175"/>
              <a:gd name="connsiteY3" fmla="*/ 5181599 h 5671864"/>
              <a:gd name="connsiteX4" fmla="*/ 13817600 w 24387175"/>
              <a:gd name="connsiteY4" fmla="*/ 5587999 h 5671864"/>
              <a:gd name="connsiteX5" fmla="*/ 25400 w 24387175"/>
              <a:gd name="connsiteY5" fmla="*/ 3799384 h 5671864"/>
              <a:gd name="connsiteX6" fmla="*/ 0 w 24387175"/>
              <a:gd name="connsiteY6" fmla="*/ 0 h 5671864"/>
              <a:gd name="connsiteX0" fmla="*/ 0 w 24387175"/>
              <a:gd name="connsiteY0" fmla="*/ 0 h 5663008"/>
              <a:gd name="connsiteX1" fmla="*/ 24387175 w 24387175"/>
              <a:gd name="connsiteY1" fmla="*/ 0 h 5663008"/>
              <a:gd name="connsiteX2" fmla="*/ 24336376 w 24387175"/>
              <a:gd name="connsiteY2" fmla="*/ 4561384 h 5663008"/>
              <a:gd name="connsiteX3" fmla="*/ 22682200 w 24387175"/>
              <a:gd name="connsiteY3" fmla="*/ 4800598 h 5663008"/>
              <a:gd name="connsiteX4" fmla="*/ 18897600 w 24387175"/>
              <a:gd name="connsiteY4" fmla="*/ 5181599 h 5663008"/>
              <a:gd name="connsiteX5" fmla="*/ 13817600 w 24387175"/>
              <a:gd name="connsiteY5" fmla="*/ 5587999 h 5663008"/>
              <a:gd name="connsiteX6" fmla="*/ 25400 w 24387175"/>
              <a:gd name="connsiteY6" fmla="*/ 3799384 h 5663008"/>
              <a:gd name="connsiteX7" fmla="*/ 0 w 24387175"/>
              <a:gd name="connsiteY7" fmla="*/ 0 h 5663008"/>
              <a:gd name="connsiteX0" fmla="*/ 0 w 24387175"/>
              <a:gd name="connsiteY0" fmla="*/ 0 h 5663008"/>
              <a:gd name="connsiteX1" fmla="*/ 24387175 w 24387175"/>
              <a:gd name="connsiteY1" fmla="*/ 0 h 5663008"/>
              <a:gd name="connsiteX2" fmla="*/ 24336376 w 24387175"/>
              <a:gd name="connsiteY2" fmla="*/ 4561384 h 5663008"/>
              <a:gd name="connsiteX3" fmla="*/ 23799800 w 24387175"/>
              <a:gd name="connsiteY3" fmla="*/ 4673598 h 5663008"/>
              <a:gd name="connsiteX4" fmla="*/ 22682200 w 24387175"/>
              <a:gd name="connsiteY4" fmla="*/ 4800598 h 5663008"/>
              <a:gd name="connsiteX5" fmla="*/ 18897600 w 24387175"/>
              <a:gd name="connsiteY5" fmla="*/ 5181599 h 5663008"/>
              <a:gd name="connsiteX6" fmla="*/ 13817600 w 24387175"/>
              <a:gd name="connsiteY6" fmla="*/ 5587999 h 5663008"/>
              <a:gd name="connsiteX7" fmla="*/ 25400 w 24387175"/>
              <a:gd name="connsiteY7" fmla="*/ 3799384 h 5663008"/>
              <a:gd name="connsiteX8" fmla="*/ 0 w 24387175"/>
              <a:gd name="connsiteY8" fmla="*/ 0 h 5663008"/>
              <a:gd name="connsiteX0" fmla="*/ 0 w 24600907"/>
              <a:gd name="connsiteY0" fmla="*/ 0 h 5663008"/>
              <a:gd name="connsiteX1" fmla="*/ 24387175 w 24600907"/>
              <a:gd name="connsiteY1" fmla="*/ 0 h 5663008"/>
              <a:gd name="connsiteX2" fmla="*/ 24336376 w 24600907"/>
              <a:gd name="connsiteY2" fmla="*/ 4561384 h 5663008"/>
              <a:gd name="connsiteX3" fmla="*/ 24587200 w 24600907"/>
              <a:gd name="connsiteY3" fmla="*/ 4495798 h 5663008"/>
              <a:gd name="connsiteX4" fmla="*/ 23799800 w 24600907"/>
              <a:gd name="connsiteY4" fmla="*/ 4673598 h 5663008"/>
              <a:gd name="connsiteX5" fmla="*/ 22682200 w 24600907"/>
              <a:gd name="connsiteY5" fmla="*/ 4800598 h 5663008"/>
              <a:gd name="connsiteX6" fmla="*/ 18897600 w 24600907"/>
              <a:gd name="connsiteY6" fmla="*/ 5181599 h 5663008"/>
              <a:gd name="connsiteX7" fmla="*/ 13817600 w 24600907"/>
              <a:gd name="connsiteY7" fmla="*/ 5587999 h 5663008"/>
              <a:gd name="connsiteX8" fmla="*/ 25400 w 24600907"/>
              <a:gd name="connsiteY8" fmla="*/ 3799384 h 5663008"/>
              <a:gd name="connsiteX9" fmla="*/ 0 w 24600907"/>
              <a:gd name="connsiteY9" fmla="*/ 0 h 5663008"/>
              <a:gd name="connsiteX0" fmla="*/ 0 w 24600907"/>
              <a:gd name="connsiteY0" fmla="*/ 0 h 5714054"/>
              <a:gd name="connsiteX1" fmla="*/ 24387175 w 24600907"/>
              <a:gd name="connsiteY1" fmla="*/ 0 h 5714054"/>
              <a:gd name="connsiteX2" fmla="*/ 24336376 w 24600907"/>
              <a:gd name="connsiteY2" fmla="*/ 4561384 h 5714054"/>
              <a:gd name="connsiteX3" fmla="*/ 24587200 w 24600907"/>
              <a:gd name="connsiteY3" fmla="*/ 4495798 h 5714054"/>
              <a:gd name="connsiteX4" fmla="*/ 23799800 w 24600907"/>
              <a:gd name="connsiteY4" fmla="*/ 4673598 h 5714054"/>
              <a:gd name="connsiteX5" fmla="*/ 22682200 w 24600907"/>
              <a:gd name="connsiteY5" fmla="*/ 4800598 h 5714054"/>
              <a:gd name="connsiteX6" fmla="*/ 18897600 w 24600907"/>
              <a:gd name="connsiteY6" fmla="*/ 5181599 h 5714054"/>
              <a:gd name="connsiteX7" fmla="*/ 16052800 w 24600907"/>
              <a:gd name="connsiteY7" fmla="*/ 5486398 h 5714054"/>
              <a:gd name="connsiteX8" fmla="*/ 13817600 w 24600907"/>
              <a:gd name="connsiteY8" fmla="*/ 5587999 h 5714054"/>
              <a:gd name="connsiteX9" fmla="*/ 25400 w 24600907"/>
              <a:gd name="connsiteY9" fmla="*/ 3799384 h 5714054"/>
              <a:gd name="connsiteX10" fmla="*/ 0 w 24600907"/>
              <a:gd name="connsiteY10" fmla="*/ 0 h 5714054"/>
              <a:gd name="connsiteX0" fmla="*/ 0 w 24600907"/>
              <a:gd name="connsiteY0" fmla="*/ 0 h 5740588"/>
              <a:gd name="connsiteX1" fmla="*/ 24387175 w 24600907"/>
              <a:gd name="connsiteY1" fmla="*/ 0 h 5740588"/>
              <a:gd name="connsiteX2" fmla="*/ 24336376 w 24600907"/>
              <a:gd name="connsiteY2" fmla="*/ 4561384 h 5740588"/>
              <a:gd name="connsiteX3" fmla="*/ 24587200 w 24600907"/>
              <a:gd name="connsiteY3" fmla="*/ 4495798 h 5740588"/>
              <a:gd name="connsiteX4" fmla="*/ 23799800 w 24600907"/>
              <a:gd name="connsiteY4" fmla="*/ 4673598 h 5740588"/>
              <a:gd name="connsiteX5" fmla="*/ 22682200 w 24600907"/>
              <a:gd name="connsiteY5" fmla="*/ 4800598 h 5740588"/>
              <a:gd name="connsiteX6" fmla="*/ 18897600 w 24600907"/>
              <a:gd name="connsiteY6" fmla="*/ 5181599 h 5740588"/>
              <a:gd name="connsiteX7" fmla="*/ 14884400 w 24600907"/>
              <a:gd name="connsiteY7" fmla="*/ 5587998 h 5740588"/>
              <a:gd name="connsiteX8" fmla="*/ 13817600 w 24600907"/>
              <a:gd name="connsiteY8" fmla="*/ 5587999 h 5740588"/>
              <a:gd name="connsiteX9" fmla="*/ 25400 w 24600907"/>
              <a:gd name="connsiteY9" fmla="*/ 3799384 h 5740588"/>
              <a:gd name="connsiteX10" fmla="*/ 0 w 24600907"/>
              <a:gd name="connsiteY10" fmla="*/ 0 h 5740588"/>
              <a:gd name="connsiteX0" fmla="*/ 0 w 24600907"/>
              <a:gd name="connsiteY0" fmla="*/ 0 h 5796031"/>
              <a:gd name="connsiteX1" fmla="*/ 24387175 w 24600907"/>
              <a:gd name="connsiteY1" fmla="*/ 0 h 5796031"/>
              <a:gd name="connsiteX2" fmla="*/ 24336376 w 24600907"/>
              <a:gd name="connsiteY2" fmla="*/ 4561384 h 5796031"/>
              <a:gd name="connsiteX3" fmla="*/ 24587200 w 24600907"/>
              <a:gd name="connsiteY3" fmla="*/ 4495798 h 5796031"/>
              <a:gd name="connsiteX4" fmla="*/ 23799800 w 24600907"/>
              <a:gd name="connsiteY4" fmla="*/ 4673598 h 5796031"/>
              <a:gd name="connsiteX5" fmla="*/ 22682200 w 24600907"/>
              <a:gd name="connsiteY5" fmla="*/ 4800598 h 5796031"/>
              <a:gd name="connsiteX6" fmla="*/ 18897600 w 24600907"/>
              <a:gd name="connsiteY6" fmla="*/ 5181599 h 5796031"/>
              <a:gd name="connsiteX7" fmla="*/ 14884400 w 24600907"/>
              <a:gd name="connsiteY7" fmla="*/ 5587998 h 5796031"/>
              <a:gd name="connsiteX8" fmla="*/ 13716000 w 24600907"/>
              <a:gd name="connsiteY8" fmla="*/ 5664199 h 5796031"/>
              <a:gd name="connsiteX9" fmla="*/ 25400 w 24600907"/>
              <a:gd name="connsiteY9" fmla="*/ 3799384 h 5796031"/>
              <a:gd name="connsiteX10" fmla="*/ 0 w 24600907"/>
              <a:gd name="connsiteY10" fmla="*/ 0 h 5796031"/>
              <a:gd name="connsiteX0" fmla="*/ 0 w 24600907"/>
              <a:gd name="connsiteY0" fmla="*/ 0 h 5684047"/>
              <a:gd name="connsiteX1" fmla="*/ 24387175 w 24600907"/>
              <a:gd name="connsiteY1" fmla="*/ 0 h 5684047"/>
              <a:gd name="connsiteX2" fmla="*/ 24336376 w 24600907"/>
              <a:gd name="connsiteY2" fmla="*/ 4561384 h 5684047"/>
              <a:gd name="connsiteX3" fmla="*/ 24587200 w 24600907"/>
              <a:gd name="connsiteY3" fmla="*/ 4495798 h 5684047"/>
              <a:gd name="connsiteX4" fmla="*/ 23799800 w 24600907"/>
              <a:gd name="connsiteY4" fmla="*/ 4673598 h 5684047"/>
              <a:gd name="connsiteX5" fmla="*/ 22682200 w 24600907"/>
              <a:gd name="connsiteY5" fmla="*/ 4800598 h 5684047"/>
              <a:gd name="connsiteX6" fmla="*/ 18897600 w 24600907"/>
              <a:gd name="connsiteY6" fmla="*/ 5181599 h 5684047"/>
              <a:gd name="connsiteX7" fmla="*/ 14884400 w 24600907"/>
              <a:gd name="connsiteY7" fmla="*/ 5587998 h 5684047"/>
              <a:gd name="connsiteX8" fmla="*/ 13716000 w 24600907"/>
              <a:gd name="connsiteY8" fmla="*/ 5664199 h 5684047"/>
              <a:gd name="connsiteX9" fmla="*/ 25400 w 24600907"/>
              <a:gd name="connsiteY9" fmla="*/ 3799384 h 5684047"/>
              <a:gd name="connsiteX10" fmla="*/ 0 w 24600907"/>
              <a:gd name="connsiteY10" fmla="*/ 0 h 5684047"/>
              <a:gd name="connsiteX0" fmla="*/ 0 w 24600907"/>
              <a:gd name="connsiteY0" fmla="*/ 0 h 5684047"/>
              <a:gd name="connsiteX1" fmla="*/ 24387175 w 24600907"/>
              <a:gd name="connsiteY1" fmla="*/ 0 h 5684047"/>
              <a:gd name="connsiteX2" fmla="*/ 24336376 w 24600907"/>
              <a:gd name="connsiteY2" fmla="*/ 4561384 h 5684047"/>
              <a:gd name="connsiteX3" fmla="*/ 24587200 w 24600907"/>
              <a:gd name="connsiteY3" fmla="*/ 4495798 h 5684047"/>
              <a:gd name="connsiteX4" fmla="*/ 23799800 w 24600907"/>
              <a:gd name="connsiteY4" fmla="*/ 4673598 h 5684047"/>
              <a:gd name="connsiteX5" fmla="*/ 22682200 w 24600907"/>
              <a:gd name="connsiteY5" fmla="*/ 4800598 h 5684047"/>
              <a:gd name="connsiteX6" fmla="*/ 18897600 w 24600907"/>
              <a:gd name="connsiteY6" fmla="*/ 5181599 h 5684047"/>
              <a:gd name="connsiteX7" fmla="*/ 14884400 w 24600907"/>
              <a:gd name="connsiteY7" fmla="*/ 5587998 h 5684047"/>
              <a:gd name="connsiteX8" fmla="*/ 13540032 w 24600907"/>
              <a:gd name="connsiteY8" fmla="*/ 5664199 h 5684047"/>
              <a:gd name="connsiteX9" fmla="*/ 25400 w 24600907"/>
              <a:gd name="connsiteY9" fmla="*/ 3799384 h 5684047"/>
              <a:gd name="connsiteX10" fmla="*/ 0 w 24600907"/>
              <a:gd name="connsiteY10" fmla="*/ 0 h 5684047"/>
              <a:gd name="connsiteX0" fmla="*/ 0 w 24600907"/>
              <a:gd name="connsiteY0" fmla="*/ 0 h 5676413"/>
              <a:gd name="connsiteX1" fmla="*/ 24387175 w 24600907"/>
              <a:gd name="connsiteY1" fmla="*/ 0 h 5676413"/>
              <a:gd name="connsiteX2" fmla="*/ 24336376 w 24600907"/>
              <a:gd name="connsiteY2" fmla="*/ 4561384 h 5676413"/>
              <a:gd name="connsiteX3" fmla="*/ 24587200 w 24600907"/>
              <a:gd name="connsiteY3" fmla="*/ 4495798 h 5676413"/>
              <a:gd name="connsiteX4" fmla="*/ 23799800 w 24600907"/>
              <a:gd name="connsiteY4" fmla="*/ 4673598 h 5676413"/>
              <a:gd name="connsiteX5" fmla="*/ 22682200 w 24600907"/>
              <a:gd name="connsiteY5" fmla="*/ 4800598 h 5676413"/>
              <a:gd name="connsiteX6" fmla="*/ 18897600 w 24600907"/>
              <a:gd name="connsiteY6" fmla="*/ 5181599 h 5676413"/>
              <a:gd name="connsiteX7" fmla="*/ 14859262 w 24600907"/>
              <a:gd name="connsiteY7" fmla="*/ 5519015 h 5676413"/>
              <a:gd name="connsiteX8" fmla="*/ 13540032 w 24600907"/>
              <a:gd name="connsiteY8" fmla="*/ 5664199 h 5676413"/>
              <a:gd name="connsiteX9" fmla="*/ 25400 w 24600907"/>
              <a:gd name="connsiteY9" fmla="*/ 3799384 h 5676413"/>
              <a:gd name="connsiteX10" fmla="*/ 0 w 24600907"/>
              <a:gd name="connsiteY10" fmla="*/ 0 h 5676413"/>
              <a:gd name="connsiteX0" fmla="*/ 0 w 24600907"/>
              <a:gd name="connsiteY0" fmla="*/ 0 h 5676413"/>
              <a:gd name="connsiteX1" fmla="*/ 24387175 w 24600907"/>
              <a:gd name="connsiteY1" fmla="*/ 0 h 5676413"/>
              <a:gd name="connsiteX2" fmla="*/ 24336376 w 24600907"/>
              <a:gd name="connsiteY2" fmla="*/ 4561384 h 5676413"/>
              <a:gd name="connsiteX3" fmla="*/ 24587200 w 24600907"/>
              <a:gd name="connsiteY3" fmla="*/ 4495798 h 5676413"/>
              <a:gd name="connsiteX4" fmla="*/ 23799800 w 24600907"/>
              <a:gd name="connsiteY4" fmla="*/ 4673598 h 5676413"/>
              <a:gd name="connsiteX5" fmla="*/ 22682200 w 24600907"/>
              <a:gd name="connsiteY5" fmla="*/ 4800598 h 5676413"/>
              <a:gd name="connsiteX6" fmla="*/ 18897599 w 24600907"/>
              <a:gd name="connsiteY6" fmla="*/ 5112616 h 5676413"/>
              <a:gd name="connsiteX7" fmla="*/ 14859262 w 24600907"/>
              <a:gd name="connsiteY7" fmla="*/ 5519015 h 5676413"/>
              <a:gd name="connsiteX8" fmla="*/ 13540032 w 24600907"/>
              <a:gd name="connsiteY8" fmla="*/ 5664199 h 5676413"/>
              <a:gd name="connsiteX9" fmla="*/ 25400 w 24600907"/>
              <a:gd name="connsiteY9" fmla="*/ 3799384 h 5676413"/>
              <a:gd name="connsiteX10" fmla="*/ 0 w 24600907"/>
              <a:gd name="connsiteY10" fmla="*/ 0 h 5676413"/>
              <a:gd name="connsiteX0" fmla="*/ 0 w 24600907"/>
              <a:gd name="connsiteY0" fmla="*/ 0 h 5676413"/>
              <a:gd name="connsiteX1" fmla="*/ 24387175 w 24600907"/>
              <a:gd name="connsiteY1" fmla="*/ 0 h 5676413"/>
              <a:gd name="connsiteX2" fmla="*/ 24336376 w 24600907"/>
              <a:gd name="connsiteY2" fmla="*/ 4561384 h 5676413"/>
              <a:gd name="connsiteX3" fmla="*/ 24587200 w 24600907"/>
              <a:gd name="connsiteY3" fmla="*/ 4495798 h 5676413"/>
              <a:gd name="connsiteX4" fmla="*/ 23799799 w 24600907"/>
              <a:gd name="connsiteY4" fmla="*/ 4650603 h 5676413"/>
              <a:gd name="connsiteX5" fmla="*/ 22682200 w 24600907"/>
              <a:gd name="connsiteY5" fmla="*/ 4800598 h 5676413"/>
              <a:gd name="connsiteX6" fmla="*/ 18897599 w 24600907"/>
              <a:gd name="connsiteY6" fmla="*/ 5112616 h 5676413"/>
              <a:gd name="connsiteX7" fmla="*/ 14859262 w 24600907"/>
              <a:gd name="connsiteY7" fmla="*/ 5519015 h 5676413"/>
              <a:gd name="connsiteX8" fmla="*/ 13540032 w 24600907"/>
              <a:gd name="connsiteY8" fmla="*/ 5664199 h 5676413"/>
              <a:gd name="connsiteX9" fmla="*/ 25400 w 24600907"/>
              <a:gd name="connsiteY9" fmla="*/ 3799384 h 5676413"/>
              <a:gd name="connsiteX10" fmla="*/ 0 w 24600907"/>
              <a:gd name="connsiteY10" fmla="*/ 0 h 5676413"/>
              <a:gd name="connsiteX0" fmla="*/ 0 w 24600907"/>
              <a:gd name="connsiteY0" fmla="*/ 0 h 5676413"/>
              <a:gd name="connsiteX1" fmla="*/ 24387175 w 24600907"/>
              <a:gd name="connsiteY1" fmla="*/ 0 h 5676413"/>
              <a:gd name="connsiteX2" fmla="*/ 24336376 w 24600907"/>
              <a:gd name="connsiteY2" fmla="*/ 4561384 h 5676413"/>
              <a:gd name="connsiteX3" fmla="*/ 24587200 w 24600907"/>
              <a:gd name="connsiteY3" fmla="*/ 4495798 h 5676413"/>
              <a:gd name="connsiteX4" fmla="*/ 23799799 w 24600907"/>
              <a:gd name="connsiteY4" fmla="*/ 4650603 h 5676413"/>
              <a:gd name="connsiteX5" fmla="*/ 22782753 w 24600907"/>
              <a:gd name="connsiteY5" fmla="*/ 4777603 h 5676413"/>
              <a:gd name="connsiteX6" fmla="*/ 18897599 w 24600907"/>
              <a:gd name="connsiteY6" fmla="*/ 5112616 h 5676413"/>
              <a:gd name="connsiteX7" fmla="*/ 14859262 w 24600907"/>
              <a:gd name="connsiteY7" fmla="*/ 5519015 h 5676413"/>
              <a:gd name="connsiteX8" fmla="*/ 13540032 w 24600907"/>
              <a:gd name="connsiteY8" fmla="*/ 5664199 h 5676413"/>
              <a:gd name="connsiteX9" fmla="*/ 25400 w 24600907"/>
              <a:gd name="connsiteY9" fmla="*/ 3799384 h 5676413"/>
              <a:gd name="connsiteX10" fmla="*/ 0 w 24600907"/>
              <a:gd name="connsiteY10" fmla="*/ 0 h 567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4600907" h="5676413">
                <a:moveTo>
                  <a:pt x="0" y="0"/>
                </a:moveTo>
                <a:lnTo>
                  <a:pt x="24387175" y="0"/>
                </a:lnTo>
                <a:lnTo>
                  <a:pt x="24336376" y="4561384"/>
                </a:lnTo>
                <a:cubicBezTo>
                  <a:pt x="24297747" y="5374184"/>
                  <a:pt x="24676629" y="4477096"/>
                  <a:pt x="24587200" y="4495798"/>
                </a:cubicBezTo>
                <a:cubicBezTo>
                  <a:pt x="24497771" y="4514500"/>
                  <a:pt x="24045332" y="4663303"/>
                  <a:pt x="23799799" y="4650603"/>
                </a:cubicBezTo>
                <a:cubicBezTo>
                  <a:pt x="23554266" y="4637903"/>
                  <a:pt x="23616720" y="4743736"/>
                  <a:pt x="22782753" y="4777603"/>
                </a:cubicBezTo>
                <a:cubicBezTo>
                  <a:pt x="21948786" y="4811470"/>
                  <a:pt x="19977099" y="4972916"/>
                  <a:pt x="18897599" y="5112616"/>
                </a:cubicBezTo>
                <a:cubicBezTo>
                  <a:pt x="17818099" y="5252316"/>
                  <a:pt x="15705929" y="5451282"/>
                  <a:pt x="14859262" y="5519015"/>
                </a:cubicBezTo>
                <a:cubicBezTo>
                  <a:pt x="14012595" y="5586748"/>
                  <a:pt x="13899865" y="5716768"/>
                  <a:pt x="13540032" y="5664199"/>
                </a:cubicBezTo>
                <a:cubicBezTo>
                  <a:pt x="10843399" y="5357630"/>
                  <a:pt x="2205567" y="4006817"/>
                  <a:pt x="25400" y="3799384"/>
                </a:cubicBezTo>
                <a:lnTo>
                  <a:pt x="0" y="0"/>
                </a:lnTo>
                <a:close/>
              </a:path>
            </a:pathLst>
          </a:custGeom>
          <a:solidFill>
            <a:srgbClr val="17375E">
              <a:alpha val="6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268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268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268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268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268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2924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-26989" y="1676400"/>
            <a:ext cx="9995213" cy="1667059"/>
          </a:xfrm>
          <a:custGeom>
            <a:avLst/>
            <a:gdLst>
              <a:gd name="connsiteX0" fmla="*/ 0 w 24387173"/>
              <a:gd name="connsiteY0" fmla="*/ 0 h 3970318"/>
              <a:gd name="connsiteX1" fmla="*/ 24387173 w 24387173"/>
              <a:gd name="connsiteY1" fmla="*/ 0 h 3970318"/>
              <a:gd name="connsiteX2" fmla="*/ 24387173 w 24387173"/>
              <a:gd name="connsiteY2" fmla="*/ 3970318 h 3970318"/>
              <a:gd name="connsiteX3" fmla="*/ 0 w 24387173"/>
              <a:gd name="connsiteY3" fmla="*/ 3970318 h 3970318"/>
              <a:gd name="connsiteX4" fmla="*/ 0 w 24387173"/>
              <a:gd name="connsiteY4" fmla="*/ 0 h 3970318"/>
              <a:gd name="connsiteX0" fmla="*/ 0 w 24387173"/>
              <a:gd name="connsiteY0" fmla="*/ 0 h 3970318"/>
              <a:gd name="connsiteX1" fmla="*/ 24387173 w 24387173"/>
              <a:gd name="connsiteY1" fmla="*/ 0 h 3970318"/>
              <a:gd name="connsiteX2" fmla="*/ 24387173 w 24387173"/>
              <a:gd name="connsiteY2" fmla="*/ 3970318 h 3970318"/>
              <a:gd name="connsiteX3" fmla="*/ 0 w 24387173"/>
              <a:gd name="connsiteY3" fmla="*/ 3563918 h 3970318"/>
              <a:gd name="connsiteX4" fmla="*/ 0 w 24387173"/>
              <a:gd name="connsiteY4" fmla="*/ 0 h 3970318"/>
              <a:gd name="connsiteX0" fmla="*/ 0 w 24387173"/>
              <a:gd name="connsiteY0" fmla="*/ 0 h 4351318"/>
              <a:gd name="connsiteX1" fmla="*/ 24387173 w 24387173"/>
              <a:gd name="connsiteY1" fmla="*/ 0 h 4351318"/>
              <a:gd name="connsiteX2" fmla="*/ 24336372 w 24387173"/>
              <a:gd name="connsiteY2" fmla="*/ 4351318 h 4351318"/>
              <a:gd name="connsiteX3" fmla="*/ 0 w 24387173"/>
              <a:gd name="connsiteY3" fmla="*/ 3563918 h 4351318"/>
              <a:gd name="connsiteX4" fmla="*/ 0 w 24387173"/>
              <a:gd name="connsiteY4" fmla="*/ 0 h 4351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387173" h="4351318">
                <a:moveTo>
                  <a:pt x="0" y="0"/>
                </a:moveTo>
                <a:lnTo>
                  <a:pt x="24387173" y="0"/>
                </a:lnTo>
                <a:lnTo>
                  <a:pt x="24336372" y="4351318"/>
                </a:lnTo>
                <a:lnTo>
                  <a:pt x="0" y="3563918"/>
                </a:lnTo>
                <a:lnTo>
                  <a:pt x="0" y="0"/>
                </a:lnTo>
                <a:close/>
              </a:path>
            </a:pathLst>
          </a:cu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2193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68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2015 En İyi Arge Merkezi Ödülü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68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27 uzmanlık laboratuarı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68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152 araştırmacı</a:t>
            </a:r>
          </a:p>
        </p:txBody>
      </p:sp>
      <p:sp>
        <p:nvSpPr>
          <p:cNvPr id="2" name="Rectangle 1"/>
          <p:cNvSpPr/>
          <p:nvPr/>
        </p:nvSpPr>
        <p:spPr>
          <a:xfrm>
            <a:off x="-18560" y="1501047"/>
            <a:ext cx="9998215" cy="50475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68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Bilim ve Teknoloji Merkezi’nde camın geleceği şekilleniyor.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2825" cy="1445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565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3"/>
          <a:srcRect t="16492" r="7545" b="9132"/>
          <a:stretch/>
        </p:blipFill>
        <p:spPr>
          <a:xfrm>
            <a:off x="17786" y="1445178"/>
            <a:ext cx="9889460" cy="541282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209800"/>
            <a:ext cx="2471853" cy="966649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-20638" y="1445178"/>
            <a:ext cx="8505533" cy="592342"/>
          </a:xfrm>
          <a:prstGeom prst="rect">
            <a:avLst/>
          </a:prstGeom>
          <a:solidFill>
            <a:srgbClr val="17375E">
              <a:alpha val="6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24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ürültü Kontrolü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638" y="0"/>
            <a:ext cx="9902825" cy="1445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1948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3"/>
          <a:srcRect t="16492" r="7545" b="9132"/>
          <a:stretch/>
        </p:blipFill>
        <p:spPr>
          <a:xfrm>
            <a:off x="20410" y="1455303"/>
            <a:ext cx="9889460" cy="6150414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382089" y="2423265"/>
            <a:ext cx="4705401" cy="3289464"/>
          </a:xfrm>
          <a:prstGeom prst="rect">
            <a:avLst/>
          </a:prstGeom>
          <a:solidFill>
            <a:srgbClr val="17375E">
              <a:alpha val="65098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3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30972" y="2185037"/>
            <a:ext cx="2471853" cy="966649"/>
          </a:xfrm>
          <a:prstGeom prst="rect">
            <a:avLst/>
          </a:prstGeom>
        </p:spPr>
      </p:pic>
      <p:sp>
        <p:nvSpPr>
          <p:cNvPr id="7" name="Rectangle 38"/>
          <p:cNvSpPr>
            <a:spLocks noChangeArrowheads="1"/>
          </p:cNvSpPr>
          <p:nvPr/>
        </p:nvSpPr>
        <p:spPr bwMode="auto">
          <a:xfrm>
            <a:off x="2164827" y="5117103"/>
            <a:ext cx="1709709" cy="579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7999" marR="0" lvl="0" indent="-87999" algn="ctr" defTabSz="139252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C0504D"/>
              </a:buClr>
              <a:buSzTx/>
              <a:buFontTx/>
              <a:buNone/>
              <a:tabLst/>
              <a:defRPr/>
            </a:pPr>
            <a:r>
              <a:rPr kumimoji="0" lang="tr-TR" sz="146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4mm DC </a:t>
            </a:r>
          </a:p>
          <a:p>
            <a:pPr marL="87999" marR="0" lvl="0" indent="-87999" algn="ctr" defTabSz="139252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C0504D"/>
              </a:buClr>
              <a:buSzTx/>
              <a:buFontTx/>
              <a:buNone/>
              <a:tabLst/>
              <a:defRPr/>
            </a:pPr>
            <a:r>
              <a:rPr kumimoji="0" lang="tr-TR" sz="113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                   </a:t>
            </a:r>
            <a:endParaRPr kumimoji="0" lang="en-US" sz="1137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8" name="Rectangle 38"/>
          <p:cNvSpPr>
            <a:spLocks noChangeArrowheads="1"/>
          </p:cNvSpPr>
          <p:nvPr/>
        </p:nvSpPr>
        <p:spPr bwMode="auto">
          <a:xfrm>
            <a:off x="2280151" y="5114937"/>
            <a:ext cx="1477522" cy="6548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7999" marR="0" lvl="0" indent="-87999" algn="ctr" defTabSz="139252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C0504D"/>
              </a:buClr>
              <a:buSzTx/>
              <a:buFontTx/>
              <a:buNone/>
              <a:tabLst/>
              <a:defRPr/>
            </a:pPr>
            <a:r>
              <a:rPr kumimoji="0" lang="en-US" sz="146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6</a:t>
            </a:r>
            <a:r>
              <a:rPr kumimoji="0" lang="tr-TR" sz="146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mm DC</a:t>
            </a:r>
            <a:endParaRPr kumimoji="0" lang="en-US" sz="1462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charset="0"/>
              <a:ea typeface="+mn-ea"/>
              <a:cs typeface="+mn-cs"/>
            </a:endParaRPr>
          </a:p>
          <a:p>
            <a:pPr marL="87999" marR="0" lvl="0" indent="-87999" algn="ctr" defTabSz="139252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C0504D"/>
              </a:buClr>
              <a:buSzTx/>
              <a:buFontTx/>
              <a:buNone/>
              <a:tabLst/>
              <a:defRPr/>
            </a:pPr>
            <a:r>
              <a:rPr kumimoji="0" lang="tr-TR" sz="146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                 </a:t>
            </a:r>
            <a:endParaRPr kumimoji="0" lang="en-US" sz="1462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" name="Rectangle 38"/>
          <p:cNvSpPr>
            <a:spLocks noChangeArrowheads="1"/>
          </p:cNvSpPr>
          <p:nvPr/>
        </p:nvSpPr>
        <p:spPr bwMode="auto">
          <a:xfrm>
            <a:off x="2489852" y="5104778"/>
            <a:ext cx="3495141" cy="579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7999" marR="0" lvl="0" indent="-87999" algn="ctr" defTabSz="139252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C0504D"/>
              </a:buClr>
              <a:buSzTx/>
              <a:buFontTx/>
              <a:buNone/>
              <a:tabLst/>
              <a:defRPr/>
            </a:pPr>
            <a:r>
              <a:rPr kumimoji="0" lang="tr-TR" sz="146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8mm DC – 55.2 Akustik Lamine Cam</a:t>
            </a:r>
            <a:endParaRPr kumimoji="0" lang="en-US" sz="1462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charset="0"/>
              <a:ea typeface="+mn-ea"/>
              <a:cs typeface="+mn-cs"/>
            </a:endParaRPr>
          </a:p>
          <a:p>
            <a:pPr marL="87999" marR="0" lvl="0" indent="-87999" algn="l" defTabSz="139252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C0504D"/>
              </a:buClr>
              <a:buSzTx/>
              <a:buFontTx/>
              <a:buNone/>
              <a:tabLst/>
              <a:defRPr/>
            </a:pPr>
            <a:r>
              <a:rPr kumimoji="0" lang="tr-TR" sz="113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                  </a:t>
            </a:r>
            <a:endParaRPr kumimoji="0" lang="en-US" sz="1137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Rectangle 84"/>
          <p:cNvSpPr>
            <a:spLocks noChangeArrowheads="1"/>
          </p:cNvSpPr>
          <p:nvPr/>
        </p:nvSpPr>
        <p:spPr bwMode="auto">
          <a:xfrm>
            <a:off x="3133080" y="3318823"/>
            <a:ext cx="126412" cy="1721899"/>
          </a:xfrm>
          <a:prstGeom prst="rect">
            <a:avLst/>
          </a:prstGeom>
          <a:solidFill>
            <a:srgbClr val="CCFFFF"/>
          </a:solidFill>
          <a:ln w="9525">
            <a:miter lim="800000"/>
            <a:headEnd/>
            <a:tailEnd/>
          </a:ln>
          <a:scene3d>
            <a:camera prst="legacyPerspectiveTopRight"/>
            <a:lightRig rig="legacyFlat3" dir="b"/>
          </a:scene3d>
          <a:sp3d extrusionH="887400" prstMaterial="legacyMatte">
            <a:bevelT w="13500" h="13500" prst="angle"/>
            <a:bevelB w="13500" h="13500" prst="angle"/>
            <a:extrusionClr>
              <a:srgbClr val="CCFFFF"/>
            </a:extrusionClr>
          </a:sp3d>
        </p:spPr>
        <p:txBody>
          <a:bodyPr wrap="none" anchor="ctr">
            <a:flatTx/>
          </a:bodyPr>
          <a:lstStyle/>
          <a:p>
            <a:pPr marL="0" marR="0" lvl="0" indent="0" algn="l" defTabSz="204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358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84"/>
          <p:cNvSpPr>
            <a:spLocks noChangeArrowheads="1"/>
          </p:cNvSpPr>
          <p:nvPr/>
        </p:nvSpPr>
        <p:spPr bwMode="auto">
          <a:xfrm>
            <a:off x="3539201" y="3318823"/>
            <a:ext cx="126412" cy="1721899"/>
          </a:xfrm>
          <a:prstGeom prst="rect">
            <a:avLst/>
          </a:prstGeom>
          <a:solidFill>
            <a:srgbClr val="CCFFFF"/>
          </a:solidFill>
          <a:ln w="9525">
            <a:miter lim="800000"/>
            <a:headEnd/>
            <a:tailEnd/>
          </a:ln>
          <a:scene3d>
            <a:camera prst="legacyPerspectiveTopRight"/>
            <a:lightRig rig="legacyFlat3" dir="b"/>
          </a:scene3d>
          <a:sp3d extrusionH="887400" prstMaterial="legacyMatte">
            <a:bevelT w="13500" h="13500" prst="angle"/>
            <a:bevelB w="13500" h="13500" prst="angle"/>
            <a:extrusionClr>
              <a:srgbClr val="CCFFFF"/>
            </a:extrusionClr>
          </a:sp3d>
        </p:spPr>
        <p:txBody>
          <a:bodyPr wrap="none" anchor="ctr">
            <a:flatTx/>
          </a:bodyPr>
          <a:lstStyle/>
          <a:p>
            <a:pPr marL="0" marR="0" lvl="0" indent="0" algn="l" defTabSz="204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358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84"/>
          <p:cNvSpPr>
            <a:spLocks noChangeArrowheads="1"/>
          </p:cNvSpPr>
          <p:nvPr/>
        </p:nvSpPr>
        <p:spPr bwMode="auto">
          <a:xfrm>
            <a:off x="3110162" y="3318823"/>
            <a:ext cx="205791" cy="1721899"/>
          </a:xfrm>
          <a:prstGeom prst="rect">
            <a:avLst/>
          </a:prstGeom>
          <a:solidFill>
            <a:srgbClr val="CCFFFF"/>
          </a:solidFill>
          <a:ln w="9525">
            <a:miter lim="800000"/>
            <a:headEnd/>
            <a:tailEnd/>
          </a:ln>
          <a:scene3d>
            <a:camera prst="legacyPerspectiveTopRight"/>
            <a:lightRig rig="legacyFlat3" dir="b"/>
          </a:scene3d>
          <a:sp3d extrusionH="887400" prstMaterial="legacyMatte">
            <a:bevelT w="13500" h="13500" prst="angle"/>
            <a:bevelB w="13500" h="13500" prst="angle"/>
            <a:extrusionClr>
              <a:srgbClr val="CCFFFF"/>
            </a:extrusionClr>
          </a:sp3d>
        </p:spPr>
        <p:txBody>
          <a:bodyPr wrap="none" anchor="ctr">
            <a:flatTx/>
          </a:bodyPr>
          <a:lstStyle/>
          <a:p>
            <a:pPr marL="0" marR="0" lvl="0" indent="0" algn="l" defTabSz="204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358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3538784" y="3324811"/>
            <a:ext cx="406539" cy="1721899"/>
            <a:chOff x="6130139" y="3006225"/>
            <a:chExt cx="217710" cy="677394"/>
          </a:xfrm>
        </p:grpSpPr>
        <p:sp>
          <p:nvSpPr>
            <p:cNvPr id="14" name="Rectangle 75"/>
            <p:cNvSpPr>
              <a:spLocks noChangeArrowheads="1"/>
            </p:cNvSpPr>
            <p:nvPr/>
          </p:nvSpPr>
          <p:spPr bwMode="auto">
            <a:xfrm>
              <a:off x="6130139" y="3006225"/>
              <a:ext cx="100526" cy="677394"/>
            </a:xfrm>
            <a:prstGeom prst="rect">
              <a:avLst/>
            </a:prstGeom>
            <a:solidFill>
              <a:srgbClr val="CCFFFF"/>
            </a:solidFill>
            <a:ln w="9525">
              <a:miter lim="800000"/>
              <a:headEnd/>
              <a:tailEnd/>
            </a:ln>
            <a:scene3d>
              <a:camera prst="legacyPerspectiveTopRight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CCFFFF"/>
              </a:extrusionClr>
            </a:sp3d>
          </p:spPr>
          <p:txBody>
            <a:bodyPr wrap="none" anchor="ctr">
              <a:flatTx/>
            </a:bodyPr>
            <a:lstStyle/>
            <a:p>
              <a:pPr marL="0" marR="0" lvl="0" indent="0" algn="l" defTabSz="2043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358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Rectangle 76"/>
            <p:cNvSpPr>
              <a:spLocks noChangeArrowheads="1"/>
            </p:cNvSpPr>
            <p:nvPr/>
          </p:nvSpPr>
          <p:spPr bwMode="auto">
            <a:xfrm>
              <a:off x="6230665" y="3006225"/>
              <a:ext cx="10656" cy="677394"/>
            </a:xfrm>
            <a:prstGeom prst="rect">
              <a:avLst/>
            </a:prstGeom>
            <a:solidFill>
              <a:srgbClr val="FF0000"/>
            </a:solidFill>
            <a:ln w="9525">
              <a:miter lim="800000"/>
              <a:headEnd/>
              <a:tailEnd/>
            </a:ln>
            <a:scene3d>
              <a:camera prst="legacyPerspectiveTopRight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FF0000"/>
              </a:extrusionClr>
            </a:sp3d>
          </p:spPr>
          <p:txBody>
            <a:bodyPr wrap="none" anchor="ctr">
              <a:flatTx/>
            </a:bodyPr>
            <a:lstStyle/>
            <a:p>
              <a:pPr marL="0" marR="0" lvl="0" indent="0" algn="l" defTabSz="2043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358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Rectangle 77"/>
            <p:cNvSpPr>
              <a:spLocks noChangeArrowheads="1"/>
            </p:cNvSpPr>
            <p:nvPr/>
          </p:nvSpPr>
          <p:spPr bwMode="auto">
            <a:xfrm>
              <a:off x="6241321" y="3006225"/>
              <a:ext cx="106528" cy="677394"/>
            </a:xfrm>
            <a:prstGeom prst="rect">
              <a:avLst/>
            </a:prstGeom>
            <a:solidFill>
              <a:srgbClr val="CCFFFF"/>
            </a:solidFill>
            <a:ln w="9525">
              <a:miter lim="800000"/>
              <a:headEnd/>
              <a:tailEnd/>
            </a:ln>
            <a:scene3d>
              <a:camera prst="legacyPerspectiveTopRight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rgbClr val="CCFFFF"/>
              </a:extrusionClr>
            </a:sp3d>
          </p:spPr>
          <p:txBody>
            <a:bodyPr wrap="none" anchor="ctr">
              <a:flatTx/>
            </a:bodyPr>
            <a:lstStyle/>
            <a:p>
              <a:pPr marL="0" marR="0" lvl="0" indent="0" algn="l" defTabSz="2043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358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7" name="Rectangle 84"/>
          <p:cNvSpPr>
            <a:spLocks noChangeArrowheads="1"/>
          </p:cNvSpPr>
          <p:nvPr/>
        </p:nvSpPr>
        <p:spPr bwMode="auto">
          <a:xfrm>
            <a:off x="3118761" y="3324811"/>
            <a:ext cx="296655" cy="1721899"/>
          </a:xfrm>
          <a:prstGeom prst="rect">
            <a:avLst/>
          </a:prstGeom>
          <a:solidFill>
            <a:srgbClr val="CCFFFF"/>
          </a:solidFill>
          <a:ln w="9525">
            <a:miter lim="800000"/>
            <a:headEnd/>
            <a:tailEnd/>
          </a:ln>
          <a:scene3d>
            <a:camera prst="legacyPerspectiveTopRight"/>
            <a:lightRig rig="legacyFlat3" dir="b"/>
          </a:scene3d>
          <a:sp3d extrusionH="887400" prstMaterial="legacyMatte">
            <a:bevelT w="13500" h="13500" prst="angle"/>
            <a:bevelB w="13500" h="13500" prst="angle"/>
            <a:extrusionClr>
              <a:srgbClr val="CCFFFF"/>
            </a:extrusionClr>
          </a:sp3d>
        </p:spPr>
        <p:txBody>
          <a:bodyPr wrap="none" anchor="ctr">
            <a:flatTx/>
          </a:bodyPr>
          <a:lstStyle/>
          <a:p>
            <a:pPr marL="0" marR="0" lvl="0" indent="0" algn="l" defTabSz="204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358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307756" y="2898865"/>
            <a:ext cx="283748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7033" marR="0" lvl="0" indent="-87033" algn="l" defTabSz="13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tr-TR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rklı kalınlıkta cam kullanılması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729696" y="2668362"/>
            <a:ext cx="3993608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7033" marR="0" lvl="0" indent="-87033" algn="l" defTabSz="13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tr-TR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mlardan birinde akustik lamine kullanılması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410234" y="3771915"/>
            <a:ext cx="1755936" cy="892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899" b="1" i="0" u="none" strike="noStrike" kern="1200" cap="none" spc="0" normalizeH="0" baseline="0" noProof="0" dirty="0">
                <a:ln>
                  <a:noFill/>
                </a:ln>
                <a:solidFill>
                  <a:srgbClr val="FAA61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3 d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300" b="1" i="0" u="none" strike="noStrike" kern="1200" cap="none" spc="0" normalizeH="0" baseline="0" noProof="0" dirty="0">
                <a:ln>
                  <a:noFill/>
                </a:ln>
                <a:solidFill>
                  <a:srgbClr val="FAA61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rk Edilir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359198" y="3769090"/>
            <a:ext cx="1737931" cy="1742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899" b="1" i="0" u="none" strike="noStrike" kern="1200" cap="none" spc="0" normalizeH="0" baseline="0" noProof="0" dirty="0">
                <a:ln>
                  <a:noFill/>
                </a:ln>
                <a:solidFill>
                  <a:srgbClr val="FAA61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10 </a:t>
            </a:r>
            <a:r>
              <a:rPr kumimoji="0" lang="tr-TR" sz="3899" b="1" i="0" u="none" strike="noStrike" kern="1200" cap="none" spc="0" normalizeH="0" baseline="0" noProof="0" dirty="0" err="1">
                <a:ln>
                  <a:noFill/>
                </a:ln>
                <a:solidFill>
                  <a:srgbClr val="FAA61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B</a:t>
            </a:r>
            <a:endParaRPr kumimoji="0" lang="tr-TR" sz="3899" b="1" i="0" u="none" strike="noStrike" kern="1200" cap="none" spc="0" normalizeH="0" baseline="0" noProof="0" dirty="0">
              <a:ln>
                <a:noFill/>
              </a:ln>
              <a:solidFill>
                <a:srgbClr val="FAA61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462" b="1" i="0" u="none" strike="noStrike" kern="1200" cap="none" spc="0" normalizeH="0" baseline="0" noProof="0" dirty="0">
                <a:ln>
                  <a:noFill/>
                </a:ln>
                <a:solidFill>
                  <a:srgbClr val="FAA61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ürültüde yarı yarıya azalma</a:t>
            </a:r>
          </a:p>
        </p:txBody>
      </p:sp>
      <p:sp>
        <p:nvSpPr>
          <p:cNvPr id="22" name="Rectangle 38"/>
          <p:cNvSpPr>
            <a:spLocks noChangeArrowheads="1"/>
          </p:cNvSpPr>
          <p:nvPr/>
        </p:nvSpPr>
        <p:spPr bwMode="auto">
          <a:xfrm>
            <a:off x="3091410" y="5103727"/>
            <a:ext cx="1508900" cy="317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7999" marR="0" lvl="0" indent="-87999" algn="ctr" defTabSz="139252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C0504D"/>
              </a:buClr>
              <a:buSzTx/>
              <a:buFontTx/>
              <a:buNone/>
              <a:tabLst/>
              <a:defRPr/>
            </a:pPr>
            <a:r>
              <a:rPr kumimoji="0" lang="tr-TR" sz="146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+mn-cs"/>
              </a:rPr>
              <a:t>  – 4mm DC</a:t>
            </a:r>
            <a:endParaRPr kumimoji="0" lang="en-US" sz="1462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1175" y="1447800"/>
            <a:ext cx="8505533" cy="592342"/>
          </a:xfrm>
          <a:prstGeom prst="rect">
            <a:avLst/>
          </a:prstGeom>
          <a:solidFill>
            <a:srgbClr val="17375E">
              <a:alpha val="6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24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ürültü Kontrolü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117427" y="3647759"/>
            <a:ext cx="1741816" cy="1529650"/>
          </a:xfrm>
          <a:prstGeom prst="rect">
            <a:avLst/>
          </a:prstGeom>
          <a:noFill/>
          <a:ln w="76200">
            <a:solidFill>
              <a:srgbClr val="FAA61A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670" b="1" i="0" u="none" strike="noStrike" kern="1200" cap="none" spc="0" normalizeH="0" baseline="0" noProof="0" dirty="0">
                <a:ln>
                  <a:noFill/>
                </a:ln>
                <a:solidFill>
                  <a:srgbClr val="95D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 dB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117427" y="3645657"/>
            <a:ext cx="1816523" cy="810991"/>
          </a:xfrm>
          <a:prstGeom prst="rect">
            <a:avLst/>
          </a:prstGeom>
          <a:noFill/>
          <a:ln w="76200">
            <a:solidFill>
              <a:srgbClr val="FAA61A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670" b="1" i="0" u="none" strike="noStrike" kern="1200" cap="none" spc="0" normalizeH="0" baseline="0" noProof="0" dirty="0">
                <a:ln>
                  <a:noFill/>
                </a:ln>
                <a:solidFill>
                  <a:srgbClr val="95D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2 dB</a:t>
            </a:r>
            <a:endParaRPr kumimoji="0" lang="en-US" sz="4670" b="1" i="0" u="none" strike="noStrike" kern="1200" cap="none" spc="0" normalizeH="0" baseline="0" noProof="0" dirty="0">
              <a:ln>
                <a:noFill/>
              </a:ln>
              <a:solidFill>
                <a:srgbClr val="95D6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117427" y="3640346"/>
            <a:ext cx="1741816" cy="1529650"/>
          </a:xfrm>
          <a:prstGeom prst="rect">
            <a:avLst/>
          </a:prstGeom>
          <a:noFill/>
          <a:ln w="76200">
            <a:solidFill>
              <a:srgbClr val="FAA61A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670" b="1" i="0" u="none" strike="noStrike" kern="1200" cap="none" spc="0" normalizeH="0" baseline="0" noProof="0" dirty="0">
                <a:ln>
                  <a:noFill/>
                </a:ln>
                <a:solidFill>
                  <a:srgbClr val="95D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1 dB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22"/>
            <a:ext cx="9902825" cy="1445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680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42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42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42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42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42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42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42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42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0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1" dur="1000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1000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8" grpId="1"/>
      <p:bldP spid="9" grpId="0"/>
      <p:bldP spid="10" grpId="0" animBg="1"/>
      <p:bldP spid="11" grpId="0" animBg="1"/>
      <p:bldP spid="12" grpId="0" animBg="1"/>
      <p:bldP spid="12" grpId="1" animBg="1"/>
      <p:bldP spid="17" grpId="0" animBg="1"/>
      <p:bldP spid="18" grpId="0"/>
      <p:bldP spid="19" grpId="0"/>
      <p:bldP spid="20" grpId="0"/>
      <p:bldP spid="20" grpId="1"/>
      <p:bldP spid="21" grpId="0"/>
      <p:bldP spid="22" grpId="0"/>
      <p:bldP spid="2" grpId="0" animBg="1"/>
      <p:bldP spid="2" grpId="1" animBg="1"/>
      <p:bldP spid="5" grpId="0" animBg="1"/>
      <p:bldP spid="5" grpId="1" animBg="1"/>
      <p:bldP spid="25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l="852" t="3482" b="10955"/>
          <a:stretch/>
        </p:blipFill>
        <p:spPr>
          <a:xfrm>
            <a:off x="0" y="1143000"/>
            <a:ext cx="9915202" cy="5724766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-12377" y="1905000"/>
            <a:ext cx="9915202" cy="1292405"/>
          </a:xfrm>
          <a:prstGeom prst="rect">
            <a:avLst/>
          </a:prstGeom>
          <a:solidFill>
            <a:srgbClr val="17375E">
              <a:alpha val="8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8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Cam Çözüm Ortağınız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8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Şişecam Düzcam</a:t>
            </a:r>
          </a:p>
        </p:txBody>
      </p:sp>
      <p:sp>
        <p:nvSpPr>
          <p:cNvPr id="2" name="Rectangle 1"/>
          <p:cNvSpPr/>
          <p:nvPr/>
        </p:nvSpPr>
        <p:spPr>
          <a:xfrm>
            <a:off x="1065212" y="5486400"/>
            <a:ext cx="7388069" cy="11047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93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otham-BoldItalic"/>
                <a:ea typeface="+mn-ea"/>
                <a:cs typeface="+mn-cs"/>
              </a:rPr>
              <a:t>“Her </a:t>
            </a:r>
            <a:r>
              <a:rPr kumimoji="0" lang="en-US" sz="2193" b="1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otham-BoldItalic"/>
                <a:ea typeface="+mn-ea"/>
                <a:cs typeface="+mn-cs"/>
              </a:rPr>
              <a:t>projenin</a:t>
            </a:r>
            <a:r>
              <a:rPr kumimoji="0" lang="en-US" sz="2193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otham-BoldItalic"/>
                <a:ea typeface="+mn-ea"/>
                <a:cs typeface="+mn-cs"/>
              </a:rPr>
              <a:t> </a:t>
            </a:r>
            <a:r>
              <a:rPr kumimoji="0" lang="en-US" sz="2193" b="1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otham-BoldItalic"/>
                <a:ea typeface="+mn-ea"/>
                <a:cs typeface="+mn-cs"/>
              </a:rPr>
              <a:t>bir</a:t>
            </a:r>
            <a:r>
              <a:rPr kumimoji="0" lang="en-US" sz="2193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otham-BoldItalic"/>
                <a:ea typeface="+mn-ea"/>
                <a:cs typeface="+mn-cs"/>
              </a:rPr>
              <a:t> </a:t>
            </a:r>
            <a:r>
              <a:rPr kumimoji="0" lang="en-US" sz="2193" b="1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otham-BoldItalic"/>
                <a:ea typeface="+mn-ea"/>
                <a:cs typeface="+mn-cs"/>
              </a:rPr>
              <a:t>hikayesi</a:t>
            </a:r>
            <a:r>
              <a:rPr kumimoji="0" lang="en-US" sz="2193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otham-BoldItalic"/>
                <a:ea typeface="+mn-ea"/>
                <a:cs typeface="+mn-cs"/>
              </a:rPr>
              <a:t>, her </a:t>
            </a:r>
            <a:r>
              <a:rPr kumimoji="0" lang="en-US" sz="2193" b="1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otham-BoldItalic"/>
                <a:ea typeface="+mn-ea"/>
                <a:cs typeface="+mn-cs"/>
              </a:rPr>
              <a:t>hikayenin</a:t>
            </a:r>
            <a:r>
              <a:rPr kumimoji="0" lang="en-US" sz="2193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otham-BoldItalic"/>
                <a:ea typeface="+mn-ea"/>
                <a:cs typeface="+mn-cs"/>
              </a:rPr>
              <a:t> </a:t>
            </a:r>
            <a:r>
              <a:rPr kumimoji="0" lang="en-US" sz="2193" b="1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otham-BoldItalic"/>
                <a:ea typeface="+mn-ea"/>
                <a:cs typeface="+mn-cs"/>
              </a:rPr>
              <a:t>kahramanları</a:t>
            </a:r>
            <a:r>
              <a:rPr kumimoji="0" lang="en-US" sz="2193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otham-BoldItalic"/>
                <a:ea typeface="+mn-ea"/>
                <a:cs typeface="+mn-cs"/>
              </a:rPr>
              <a:t>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93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otham-BoldItalic"/>
                <a:ea typeface="+mn-ea"/>
                <a:cs typeface="+mn-cs"/>
              </a:rPr>
              <a:t>her </a:t>
            </a:r>
            <a:r>
              <a:rPr kumimoji="0" lang="en-US" sz="2193" b="1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otham-BoldItalic"/>
                <a:ea typeface="+mn-ea"/>
                <a:cs typeface="+mn-cs"/>
              </a:rPr>
              <a:t>kahramanın</a:t>
            </a:r>
            <a:r>
              <a:rPr kumimoji="0" lang="en-US" sz="2193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otham-BoldItalic"/>
                <a:ea typeface="+mn-ea"/>
                <a:cs typeface="+mn-cs"/>
              </a:rPr>
              <a:t> </a:t>
            </a:r>
            <a:r>
              <a:rPr kumimoji="0" lang="en-US" sz="2193" b="1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otham-BoldItalic"/>
                <a:ea typeface="+mn-ea"/>
                <a:cs typeface="+mn-cs"/>
              </a:rPr>
              <a:t>çözüm</a:t>
            </a:r>
            <a:r>
              <a:rPr kumimoji="0" lang="en-US" sz="2193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otham-BoldItalic"/>
                <a:ea typeface="+mn-ea"/>
                <a:cs typeface="+mn-cs"/>
              </a:rPr>
              <a:t> </a:t>
            </a:r>
            <a:r>
              <a:rPr kumimoji="0" lang="en-US" sz="2193" b="1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otham-BoldItalic"/>
                <a:ea typeface="+mn-ea"/>
                <a:cs typeface="+mn-cs"/>
              </a:rPr>
              <a:t>üreten</a:t>
            </a:r>
            <a:r>
              <a:rPr kumimoji="0" lang="en-US" sz="2193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otham-BoldItalic"/>
                <a:ea typeface="+mn-ea"/>
                <a:cs typeface="+mn-cs"/>
              </a:rPr>
              <a:t> </a:t>
            </a:r>
            <a:r>
              <a:rPr kumimoji="0" lang="en-US" sz="2193" b="1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otham-BoldItalic"/>
                <a:ea typeface="+mn-ea"/>
                <a:cs typeface="+mn-cs"/>
              </a:rPr>
              <a:t>dostları</a:t>
            </a:r>
            <a:r>
              <a:rPr kumimoji="0" lang="en-US" sz="2193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otham-BoldItalic"/>
                <a:ea typeface="+mn-ea"/>
                <a:cs typeface="+mn-cs"/>
              </a:rPr>
              <a:t> </a:t>
            </a:r>
            <a:r>
              <a:rPr kumimoji="0" lang="en-US" sz="2193" b="1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otham-BoldItalic"/>
                <a:ea typeface="+mn-ea"/>
                <a:cs typeface="+mn-cs"/>
              </a:rPr>
              <a:t>vardır</a:t>
            </a:r>
            <a:r>
              <a:rPr kumimoji="0" lang="en-US" sz="2193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otham-BoldItalic"/>
                <a:ea typeface="+mn-ea"/>
                <a:cs typeface="+mn-cs"/>
              </a:rPr>
              <a:t>.”</a:t>
            </a:r>
            <a:endParaRPr kumimoji="0" lang="en-US" sz="1949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39" y="0"/>
            <a:ext cx="9902825" cy="1445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841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50" presetClass="entr" presetSubtype="0" decel="100000" fill="hold" grpId="0" nodeType="after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9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9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9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r="-92" b="1314"/>
          <a:stretch/>
        </p:blipFill>
        <p:spPr>
          <a:xfrm>
            <a:off x="347327" y="1871852"/>
            <a:ext cx="9447724" cy="4986147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42957" y="2298858"/>
            <a:ext cx="2075729" cy="44556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37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Ürün Eğitimleri</a:t>
            </a:r>
            <a:endParaRPr kumimoji="0" lang="en-US" sz="2437" b="1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531161" y="2433431"/>
            <a:ext cx="2075729" cy="44556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37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arşılıklı Görüşmeler</a:t>
            </a:r>
            <a:endParaRPr kumimoji="0" lang="en-US" sz="2437" b="1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040391" y="4876800"/>
            <a:ext cx="3075570" cy="112722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37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m Şartnam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37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Önerisi</a:t>
            </a:r>
            <a:endParaRPr kumimoji="0" lang="en-US" sz="2437" b="1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3879" y="1433822"/>
            <a:ext cx="9855542" cy="506178"/>
          </a:xfrm>
          <a:prstGeom prst="rect">
            <a:avLst/>
          </a:prstGeom>
          <a:solidFill>
            <a:srgbClr val="17375E">
              <a:alpha val="8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68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Proje Özelinde Cam Danışmanlığı </a:t>
            </a:r>
          </a:p>
        </p:txBody>
      </p:sp>
      <p:sp>
        <p:nvSpPr>
          <p:cNvPr id="9" name="Rectangle 8"/>
          <p:cNvSpPr/>
          <p:nvPr/>
        </p:nvSpPr>
        <p:spPr>
          <a:xfrm>
            <a:off x="-257404" y="4780716"/>
            <a:ext cx="3076449" cy="65969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37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kni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37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saplamalar</a:t>
            </a:r>
            <a:endParaRPr kumimoji="0" lang="en-US" sz="2437" b="1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9902825" cy="1445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581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8" grpId="0"/>
      <p:bldP spid="10" grpId="0"/>
      <p:bldP spid="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427162" y="2488345"/>
            <a:ext cx="70485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ytül UĞURLU</a:t>
            </a:r>
            <a:endParaRPr kumimoji="0" lang="tr-TR" sz="5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017712" y="3247606"/>
            <a:ext cx="58674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Şişecam Ürün Yönetim Şefi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2825" cy="1445178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-1" y="4721661"/>
            <a:ext cx="9902825" cy="2136339"/>
          </a:xfrm>
          <a:prstGeom prst="rect">
            <a:avLst/>
          </a:prstGeom>
          <a:solidFill>
            <a:srgbClr val="64A5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8728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5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775"/>
          <a:stretch/>
        </p:blipFill>
        <p:spPr>
          <a:xfrm>
            <a:off x="-1" y="1464228"/>
            <a:ext cx="9902825" cy="5393772"/>
          </a:xfrm>
          <a:prstGeom prst="rect">
            <a:avLst/>
          </a:prstGeom>
        </p:spPr>
      </p:pic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165032" y="1870991"/>
            <a:ext cx="8042699" cy="3931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4254" tIns="37128" rIns="74254" bIns="37128"/>
          <a:lstStyle/>
          <a:p>
            <a:pPr marL="0" marR="0" lvl="0" indent="0" algn="l" defTabSz="7406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58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Curved Down Arrow 3"/>
          <p:cNvSpPr/>
          <p:nvPr/>
        </p:nvSpPr>
        <p:spPr bwMode="auto">
          <a:xfrm>
            <a:off x="2311618" y="2923291"/>
            <a:ext cx="142217" cy="353155"/>
          </a:xfrm>
          <a:prstGeom prst="curvedDown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770" tIns="37885" rIns="75770" bIns="37885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5775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132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592586" y="1464228"/>
            <a:ext cx="8928385" cy="2643246"/>
            <a:chOff x="199242" y="406556"/>
            <a:chExt cx="8873847" cy="3071036"/>
          </a:xfrm>
        </p:grpSpPr>
        <p:sp>
          <p:nvSpPr>
            <p:cNvPr id="3" name="Rectangle 2"/>
            <p:cNvSpPr/>
            <p:nvPr/>
          </p:nvSpPr>
          <p:spPr>
            <a:xfrm>
              <a:off x="199242" y="406556"/>
              <a:ext cx="8726633" cy="3071036"/>
            </a:xfrm>
            <a:prstGeom prst="rect">
              <a:avLst/>
            </a:prstGeom>
            <a:noFill/>
          </p:spPr>
        </p:sp>
        <p:sp>
          <p:nvSpPr>
            <p:cNvPr id="5" name="Freeform 4"/>
            <p:cNvSpPr/>
            <p:nvPr/>
          </p:nvSpPr>
          <p:spPr>
            <a:xfrm>
              <a:off x="199242" y="1511189"/>
              <a:ext cx="1972535" cy="1271108"/>
            </a:xfrm>
            <a:custGeom>
              <a:avLst/>
              <a:gdLst>
                <a:gd name="connsiteX0" fmla="*/ 0 w 1676723"/>
                <a:gd name="connsiteY0" fmla="*/ 100603 h 1006034"/>
                <a:gd name="connsiteX1" fmla="*/ 100603 w 1676723"/>
                <a:gd name="connsiteY1" fmla="*/ 0 h 1006034"/>
                <a:gd name="connsiteX2" fmla="*/ 1576120 w 1676723"/>
                <a:gd name="connsiteY2" fmla="*/ 0 h 1006034"/>
                <a:gd name="connsiteX3" fmla="*/ 1676723 w 1676723"/>
                <a:gd name="connsiteY3" fmla="*/ 100603 h 1006034"/>
                <a:gd name="connsiteX4" fmla="*/ 1676723 w 1676723"/>
                <a:gd name="connsiteY4" fmla="*/ 905431 h 1006034"/>
                <a:gd name="connsiteX5" fmla="*/ 1576120 w 1676723"/>
                <a:gd name="connsiteY5" fmla="*/ 1006034 h 1006034"/>
                <a:gd name="connsiteX6" fmla="*/ 100603 w 1676723"/>
                <a:gd name="connsiteY6" fmla="*/ 1006034 h 1006034"/>
                <a:gd name="connsiteX7" fmla="*/ 0 w 1676723"/>
                <a:gd name="connsiteY7" fmla="*/ 905431 h 1006034"/>
                <a:gd name="connsiteX8" fmla="*/ 0 w 1676723"/>
                <a:gd name="connsiteY8" fmla="*/ 100603 h 100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76723" h="1006034">
                  <a:moveTo>
                    <a:pt x="0" y="100603"/>
                  </a:moveTo>
                  <a:cubicBezTo>
                    <a:pt x="0" y="45041"/>
                    <a:pt x="45041" y="0"/>
                    <a:pt x="100603" y="0"/>
                  </a:cubicBezTo>
                  <a:lnTo>
                    <a:pt x="1576120" y="0"/>
                  </a:lnTo>
                  <a:cubicBezTo>
                    <a:pt x="1631682" y="0"/>
                    <a:pt x="1676723" y="45041"/>
                    <a:pt x="1676723" y="100603"/>
                  </a:cubicBezTo>
                  <a:lnTo>
                    <a:pt x="1676723" y="905431"/>
                  </a:lnTo>
                  <a:cubicBezTo>
                    <a:pt x="1676723" y="960993"/>
                    <a:pt x="1631682" y="1006034"/>
                    <a:pt x="1576120" y="1006034"/>
                  </a:cubicBezTo>
                  <a:lnTo>
                    <a:pt x="100603" y="1006034"/>
                  </a:lnTo>
                  <a:cubicBezTo>
                    <a:pt x="45041" y="1006034"/>
                    <a:pt x="0" y="960993"/>
                    <a:pt x="0" y="905431"/>
                  </a:cubicBezTo>
                  <a:lnTo>
                    <a:pt x="0" y="100603"/>
                  </a:lnTo>
                  <a:close/>
                </a:path>
              </a:pathLst>
            </a:custGeom>
            <a:solidFill>
              <a:srgbClr val="17375E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7250" tIns="67250" rIns="67250" bIns="67250" numCol="1" spcCol="1270" anchor="ctr" anchorCtr="0">
              <a:noAutofit/>
            </a:bodyPr>
            <a:lstStyle/>
            <a:p>
              <a:pPr marL="0" marR="0" lvl="0" indent="0" algn="ctr" defTabSz="50543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24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Proje Fonksiyonu</a:t>
              </a:r>
            </a:p>
          </p:txBody>
        </p:sp>
        <p:sp>
          <p:nvSpPr>
            <p:cNvPr id="7" name="Freeform 6"/>
            <p:cNvSpPr/>
            <p:nvPr/>
          </p:nvSpPr>
          <p:spPr>
            <a:xfrm>
              <a:off x="2500771" y="1485032"/>
              <a:ext cx="2014282" cy="1297265"/>
            </a:xfrm>
            <a:custGeom>
              <a:avLst/>
              <a:gdLst>
                <a:gd name="connsiteX0" fmla="*/ 0 w 1676723"/>
                <a:gd name="connsiteY0" fmla="*/ 100603 h 1006034"/>
                <a:gd name="connsiteX1" fmla="*/ 100603 w 1676723"/>
                <a:gd name="connsiteY1" fmla="*/ 0 h 1006034"/>
                <a:gd name="connsiteX2" fmla="*/ 1576120 w 1676723"/>
                <a:gd name="connsiteY2" fmla="*/ 0 h 1006034"/>
                <a:gd name="connsiteX3" fmla="*/ 1676723 w 1676723"/>
                <a:gd name="connsiteY3" fmla="*/ 100603 h 1006034"/>
                <a:gd name="connsiteX4" fmla="*/ 1676723 w 1676723"/>
                <a:gd name="connsiteY4" fmla="*/ 905431 h 1006034"/>
                <a:gd name="connsiteX5" fmla="*/ 1576120 w 1676723"/>
                <a:gd name="connsiteY5" fmla="*/ 1006034 h 1006034"/>
                <a:gd name="connsiteX6" fmla="*/ 100603 w 1676723"/>
                <a:gd name="connsiteY6" fmla="*/ 1006034 h 1006034"/>
                <a:gd name="connsiteX7" fmla="*/ 0 w 1676723"/>
                <a:gd name="connsiteY7" fmla="*/ 905431 h 1006034"/>
                <a:gd name="connsiteX8" fmla="*/ 0 w 1676723"/>
                <a:gd name="connsiteY8" fmla="*/ 100603 h 100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76723" h="1006034">
                  <a:moveTo>
                    <a:pt x="0" y="100603"/>
                  </a:moveTo>
                  <a:cubicBezTo>
                    <a:pt x="0" y="45041"/>
                    <a:pt x="45041" y="0"/>
                    <a:pt x="100603" y="0"/>
                  </a:cubicBezTo>
                  <a:lnTo>
                    <a:pt x="1576120" y="0"/>
                  </a:lnTo>
                  <a:cubicBezTo>
                    <a:pt x="1631682" y="0"/>
                    <a:pt x="1676723" y="45041"/>
                    <a:pt x="1676723" y="100603"/>
                  </a:cubicBezTo>
                  <a:lnTo>
                    <a:pt x="1676723" y="905431"/>
                  </a:lnTo>
                  <a:cubicBezTo>
                    <a:pt x="1676723" y="960993"/>
                    <a:pt x="1631682" y="1006034"/>
                    <a:pt x="1576120" y="1006034"/>
                  </a:cubicBezTo>
                  <a:lnTo>
                    <a:pt x="100603" y="1006034"/>
                  </a:lnTo>
                  <a:cubicBezTo>
                    <a:pt x="45041" y="1006034"/>
                    <a:pt x="0" y="960993"/>
                    <a:pt x="0" y="905431"/>
                  </a:cubicBezTo>
                  <a:lnTo>
                    <a:pt x="0" y="100603"/>
                  </a:lnTo>
                  <a:close/>
                </a:path>
              </a:pathLst>
            </a:custGeom>
            <a:solidFill>
              <a:srgbClr val="17375E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7250" tIns="67250" rIns="67250" bIns="67250" numCol="1" spcCol="1270" anchor="ctr" anchorCtr="0">
              <a:noAutofit/>
            </a:bodyPr>
            <a:lstStyle/>
            <a:p>
              <a:pPr marL="0" marR="0" lvl="0" indent="0" algn="ctr" defTabSz="50543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24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Proje Lokasyonu ve Yönü</a:t>
              </a:r>
            </a:p>
          </p:txBody>
        </p:sp>
        <p:sp>
          <p:nvSpPr>
            <p:cNvPr id="12" name="Freeform 11"/>
            <p:cNvSpPr/>
            <p:nvPr/>
          </p:nvSpPr>
          <p:spPr>
            <a:xfrm>
              <a:off x="4809481" y="1479204"/>
              <a:ext cx="1959653" cy="1303093"/>
            </a:xfrm>
            <a:custGeom>
              <a:avLst/>
              <a:gdLst>
                <a:gd name="connsiteX0" fmla="*/ 0 w 1676723"/>
                <a:gd name="connsiteY0" fmla="*/ 100603 h 1006034"/>
                <a:gd name="connsiteX1" fmla="*/ 100603 w 1676723"/>
                <a:gd name="connsiteY1" fmla="*/ 0 h 1006034"/>
                <a:gd name="connsiteX2" fmla="*/ 1576120 w 1676723"/>
                <a:gd name="connsiteY2" fmla="*/ 0 h 1006034"/>
                <a:gd name="connsiteX3" fmla="*/ 1676723 w 1676723"/>
                <a:gd name="connsiteY3" fmla="*/ 100603 h 1006034"/>
                <a:gd name="connsiteX4" fmla="*/ 1676723 w 1676723"/>
                <a:gd name="connsiteY4" fmla="*/ 905431 h 1006034"/>
                <a:gd name="connsiteX5" fmla="*/ 1576120 w 1676723"/>
                <a:gd name="connsiteY5" fmla="*/ 1006034 h 1006034"/>
                <a:gd name="connsiteX6" fmla="*/ 100603 w 1676723"/>
                <a:gd name="connsiteY6" fmla="*/ 1006034 h 1006034"/>
                <a:gd name="connsiteX7" fmla="*/ 0 w 1676723"/>
                <a:gd name="connsiteY7" fmla="*/ 905431 h 1006034"/>
                <a:gd name="connsiteX8" fmla="*/ 0 w 1676723"/>
                <a:gd name="connsiteY8" fmla="*/ 100603 h 100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76723" h="1006034">
                  <a:moveTo>
                    <a:pt x="0" y="100603"/>
                  </a:moveTo>
                  <a:cubicBezTo>
                    <a:pt x="0" y="45041"/>
                    <a:pt x="45041" y="0"/>
                    <a:pt x="100603" y="0"/>
                  </a:cubicBezTo>
                  <a:lnTo>
                    <a:pt x="1576120" y="0"/>
                  </a:lnTo>
                  <a:cubicBezTo>
                    <a:pt x="1631682" y="0"/>
                    <a:pt x="1676723" y="45041"/>
                    <a:pt x="1676723" y="100603"/>
                  </a:cubicBezTo>
                  <a:lnTo>
                    <a:pt x="1676723" y="905431"/>
                  </a:lnTo>
                  <a:cubicBezTo>
                    <a:pt x="1676723" y="960993"/>
                    <a:pt x="1631682" y="1006034"/>
                    <a:pt x="1576120" y="1006034"/>
                  </a:cubicBezTo>
                  <a:lnTo>
                    <a:pt x="100603" y="1006034"/>
                  </a:lnTo>
                  <a:cubicBezTo>
                    <a:pt x="45041" y="1006034"/>
                    <a:pt x="0" y="960993"/>
                    <a:pt x="0" y="905431"/>
                  </a:cubicBezTo>
                  <a:lnTo>
                    <a:pt x="0" y="100603"/>
                  </a:lnTo>
                  <a:close/>
                </a:path>
              </a:pathLst>
            </a:custGeom>
            <a:solidFill>
              <a:srgbClr val="17375E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7250" tIns="67250" rIns="67250" bIns="67250" numCol="1" spcCol="1270" anchor="ctr" anchorCtr="0">
              <a:noAutofit/>
            </a:bodyPr>
            <a:lstStyle/>
            <a:p>
              <a:pPr marL="0" marR="0" lvl="0" indent="0" algn="ctr" defTabSz="50543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24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Cam Boyutları ve  Cam Kalınlıkları</a:t>
              </a:r>
            </a:p>
          </p:txBody>
        </p:sp>
        <p:sp>
          <p:nvSpPr>
            <p:cNvPr id="15" name="Freeform 14"/>
            <p:cNvSpPr/>
            <p:nvPr/>
          </p:nvSpPr>
          <p:spPr>
            <a:xfrm>
              <a:off x="7100797" y="1462332"/>
              <a:ext cx="1972292" cy="1304851"/>
            </a:xfrm>
            <a:custGeom>
              <a:avLst/>
              <a:gdLst>
                <a:gd name="connsiteX0" fmla="*/ 0 w 1676723"/>
                <a:gd name="connsiteY0" fmla="*/ 100603 h 1006034"/>
                <a:gd name="connsiteX1" fmla="*/ 100603 w 1676723"/>
                <a:gd name="connsiteY1" fmla="*/ 0 h 1006034"/>
                <a:gd name="connsiteX2" fmla="*/ 1576120 w 1676723"/>
                <a:gd name="connsiteY2" fmla="*/ 0 h 1006034"/>
                <a:gd name="connsiteX3" fmla="*/ 1676723 w 1676723"/>
                <a:gd name="connsiteY3" fmla="*/ 100603 h 1006034"/>
                <a:gd name="connsiteX4" fmla="*/ 1676723 w 1676723"/>
                <a:gd name="connsiteY4" fmla="*/ 905431 h 1006034"/>
                <a:gd name="connsiteX5" fmla="*/ 1576120 w 1676723"/>
                <a:gd name="connsiteY5" fmla="*/ 1006034 h 1006034"/>
                <a:gd name="connsiteX6" fmla="*/ 100603 w 1676723"/>
                <a:gd name="connsiteY6" fmla="*/ 1006034 h 1006034"/>
                <a:gd name="connsiteX7" fmla="*/ 0 w 1676723"/>
                <a:gd name="connsiteY7" fmla="*/ 905431 h 1006034"/>
                <a:gd name="connsiteX8" fmla="*/ 0 w 1676723"/>
                <a:gd name="connsiteY8" fmla="*/ 100603 h 1006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76723" h="1006034">
                  <a:moveTo>
                    <a:pt x="0" y="100603"/>
                  </a:moveTo>
                  <a:cubicBezTo>
                    <a:pt x="0" y="45041"/>
                    <a:pt x="45041" y="0"/>
                    <a:pt x="100603" y="0"/>
                  </a:cubicBezTo>
                  <a:lnTo>
                    <a:pt x="1576120" y="0"/>
                  </a:lnTo>
                  <a:cubicBezTo>
                    <a:pt x="1631682" y="0"/>
                    <a:pt x="1676723" y="45041"/>
                    <a:pt x="1676723" y="100603"/>
                  </a:cubicBezTo>
                  <a:lnTo>
                    <a:pt x="1676723" y="905431"/>
                  </a:lnTo>
                  <a:cubicBezTo>
                    <a:pt x="1676723" y="960993"/>
                    <a:pt x="1631682" y="1006034"/>
                    <a:pt x="1576120" y="1006034"/>
                  </a:cubicBezTo>
                  <a:lnTo>
                    <a:pt x="100603" y="1006034"/>
                  </a:lnTo>
                  <a:cubicBezTo>
                    <a:pt x="45041" y="1006034"/>
                    <a:pt x="0" y="960993"/>
                    <a:pt x="0" y="905431"/>
                  </a:cubicBezTo>
                  <a:lnTo>
                    <a:pt x="0" y="100603"/>
                  </a:lnTo>
                  <a:close/>
                </a:path>
              </a:pathLst>
            </a:custGeom>
            <a:solidFill>
              <a:srgbClr val="17375E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7250" tIns="67250" rIns="67250" bIns="67250" numCol="1" spcCol="1270" anchor="ctr" anchorCtr="0">
              <a:noAutofit/>
            </a:bodyPr>
            <a:lstStyle/>
            <a:p>
              <a:pPr marL="0" marR="0" lvl="0" indent="0" algn="ctr" defTabSz="50543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1624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Estetik ve Cam Performans Özellikleri</a:t>
              </a:r>
            </a:p>
          </p:txBody>
        </p:sp>
      </p:grpSp>
      <p:sp>
        <p:nvSpPr>
          <p:cNvPr id="16" name="Freeform 15"/>
          <p:cNvSpPr/>
          <p:nvPr/>
        </p:nvSpPr>
        <p:spPr>
          <a:xfrm rot="20872">
            <a:off x="2590500" y="2744130"/>
            <a:ext cx="275711" cy="425119"/>
          </a:xfrm>
          <a:custGeom>
            <a:avLst/>
            <a:gdLst>
              <a:gd name="connsiteX0" fmla="*/ 0 w 365432"/>
              <a:gd name="connsiteY0" fmla="*/ 83165 h 415827"/>
              <a:gd name="connsiteX1" fmla="*/ 182716 w 365432"/>
              <a:gd name="connsiteY1" fmla="*/ 83165 h 415827"/>
              <a:gd name="connsiteX2" fmla="*/ 182716 w 365432"/>
              <a:gd name="connsiteY2" fmla="*/ 0 h 415827"/>
              <a:gd name="connsiteX3" fmla="*/ 365432 w 365432"/>
              <a:gd name="connsiteY3" fmla="*/ 207914 h 415827"/>
              <a:gd name="connsiteX4" fmla="*/ 182716 w 365432"/>
              <a:gd name="connsiteY4" fmla="*/ 415827 h 415827"/>
              <a:gd name="connsiteX5" fmla="*/ 182716 w 365432"/>
              <a:gd name="connsiteY5" fmla="*/ 332662 h 415827"/>
              <a:gd name="connsiteX6" fmla="*/ 0 w 365432"/>
              <a:gd name="connsiteY6" fmla="*/ 332662 h 415827"/>
              <a:gd name="connsiteX7" fmla="*/ 0 w 365432"/>
              <a:gd name="connsiteY7" fmla="*/ 83165 h 41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432" h="415827">
                <a:moveTo>
                  <a:pt x="0" y="83165"/>
                </a:moveTo>
                <a:lnTo>
                  <a:pt x="182716" y="83165"/>
                </a:lnTo>
                <a:lnTo>
                  <a:pt x="182716" y="0"/>
                </a:lnTo>
                <a:lnTo>
                  <a:pt x="365432" y="207914"/>
                </a:lnTo>
                <a:lnTo>
                  <a:pt x="182716" y="415827"/>
                </a:lnTo>
                <a:lnTo>
                  <a:pt x="182716" y="332662"/>
                </a:lnTo>
                <a:lnTo>
                  <a:pt x="0" y="332662"/>
                </a:lnTo>
                <a:lnTo>
                  <a:pt x="0" y="83165"/>
                </a:lnTo>
                <a:close/>
              </a:path>
            </a:pathLst>
          </a:custGeom>
          <a:solidFill>
            <a:srgbClr val="002060"/>
          </a:solidFill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7250" tIns="67250" rIns="67250" bIns="67250" numCol="1" spcCol="1270" anchor="ctr" anchorCtr="0">
            <a:noAutofit/>
          </a:bodyPr>
          <a:lstStyle/>
          <a:p>
            <a:pPr marL="0" marR="0" lvl="0" indent="0" algn="ctr" defTabSz="50543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tr-TR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-17124" y="1467714"/>
            <a:ext cx="9902825" cy="510270"/>
          </a:xfrm>
          <a:prstGeom prst="rect">
            <a:avLst/>
          </a:prstGeom>
          <a:solidFill>
            <a:srgbClr val="17375E">
              <a:alpha val="80000"/>
            </a:srgb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68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Doğru Camı Nasıl Seçeriz?</a:t>
            </a:r>
          </a:p>
        </p:txBody>
      </p:sp>
      <p:sp>
        <p:nvSpPr>
          <p:cNvPr id="18" name="Freeform 17"/>
          <p:cNvSpPr/>
          <p:nvPr/>
        </p:nvSpPr>
        <p:spPr>
          <a:xfrm rot="20872">
            <a:off x="4979184" y="2771346"/>
            <a:ext cx="275711" cy="425119"/>
          </a:xfrm>
          <a:custGeom>
            <a:avLst/>
            <a:gdLst>
              <a:gd name="connsiteX0" fmla="*/ 0 w 365432"/>
              <a:gd name="connsiteY0" fmla="*/ 83165 h 415827"/>
              <a:gd name="connsiteX1" fmla="*/ 182716 w 365432"/>
              <a:gd name="connsiteY1" fmla="*/ 83165 h 415827"/>
              <a:gd name="connsiteX2" fmla="*/ 182716 w 365432"/>
              <a:gd name="connsiteY2" fmla="*/ 0 h 415827"/>
              <a:gd name="connsiteX3" fmla="*/ 365432 w 365432"/>
              <a:gd name="connsiteY3" fmla="*/ 207914 h 415827"/>
              <a:gd name="connsiteX4" fmla="*/ 182716 w 365432"/>
              <a:gd name="connsiteY4" fmla="*/ 415827 h 415827"/>
              <a:gd name="connsiteX5" fmla="*/ 182716 w 365432"/>
              <a:gd name="connsiteY5" fmla="*/ 332662 h 415827"/>
              <a:gd name="connsiteX6" fmla="*/ 0 w 365432"/>
              <a:gd name="connsiteY6" fmla="*/ 332662 h 415827"/>
              <a:gd name="connsiteX7" fmla="*/ 0 w 365432"/>
              <a:gd name="connsiteY7" fmla="*/ 83165 h 41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432" h="415827">
                <a:moveTo>
                  <a:pt x="0" y="83165"/>
                </a:moveTo>
                <a:lnTo>
                  <a:pt x="182716" y="83165"/>
                </a:lnTo>
                <a:lnTo>
                  <a:pt x="182716" y="0"/>
                </a:lnTo>
                <a:lnTo>
                  <a:pt x="365432" y="207914"/>
                </a:lnTo>
                <a:lnTo>
                  <a:pt x="182716" y="415827"/>
                </a:lnTo>
                <a:lnTo>
                  <a:pt x="182716" y="332662"/>
                </a:lnTo>
                <a:lnTo>
                  <a:pt x="0" y="332662"/>
                </a:lnTo>
                <a:lnTo>
                  <a:pt x="0" y="83165"/>
                </a:lnTo>
                <a:close/>
              </a:path>
            </a:pathLst>
          </a:custGeom>
          <a:solidFill>
            <a:srgbClr val="002060"/>
          </a:solidFill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7250" tIns="67250" rIns="67250" bIns="67250" numCol="1" spcCol="1270" anchor="ctr" anchorCtr="0">
            <a:noAutofit/>
          </a:bodyPr>
          <a:lstStyle/>
          <a:p>
            <a:pPr marL="0" marR="0" lvl="0" indent="0" algn="ctr" defTabSz="50543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tr-TR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Freeform 18"/>
          <p:cNvSpPr/>
          <p:nvPr/>
        </p:nvSpPr>
        <p:spPr>
          <a:xfrm rot="20872">
            <a:off x="7247049" y="2687293"/>
            <a:ext cx="275711" cy="425119"/>
          </a:xfrm>
          <a:custGeom>
            <a:avLst/>
            <a:gdLst>
              <a:gd name="connsiteX0" fmla="*/ 0 w 365432"/>
              <a:gd name="connsiteY0" fmla="*/ 83165 h 415827"/>
              <a:gd name="connsiteX1" fmla="*/ 182716 w 365432"/>
              <a:gd name="connsiteY1" fmla="*/ 83165 h 415827"/>
              <a:gd name="connsiteX2" fmla="*/ 182716 w 365432"/>
              <a:gd name="connsiteY2" fmla="*/ 0 h 415827"/>
              <a:gd name="connsiteX3" fmla="*/ 365432 w 365432"/>
              <a:gd name="connsiteY3" fmla="*/ 207914 h 415827"/>
              <a:gd name="connsiteX4" fmla="*/ 182716 w 365432"/>
              <a:gd name="connsiteY4" fmla="*/ 415827 h 415827"/>
              <a:gd name="connsiteX5" fmla="*/ 182716 w 365432"/>
              <a:gd name="connsiteY5" fmla="*/ 332662 h 415827"/>
              <a:gd name="connsiteX6" fmla="*/ 0 w 365432"/>
              <a:gd name="connsiteY6" fmla="*/ 332662 h 415827"/>
              <a:gd name="connsiteX7" fmla="*/ 0 w 365432"/>
              <a:gd name="connsiteY7" fmla="*/ 83165 h 41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432" h="415827">
                <a:moveTo>
                  <a:pt x="0" y="83165"/>
                </a:moveTo>
                <a:lnTo>
                  <a:pt x="182716" y="83165"/>
                </a:lnTo>
                <a:lnTo>
                  <a:pt x="182716" y="0"/>
                </a:lnTo>
                <a:lnTo>
                  <a:pt x="365432" y="207914"/>
                </a:lnTo>
                <a:lnTo>
                  <a:pt x="182716" y="415827"/>
                </a:lnTo>
                <a:lnTo>
                  <a:pt x="182716" y="332662"/>
                </a:lnTo>
                <a:lnTo>
                  <a:pt x="0" y="332662"/>
                </a:lnTo>
                <a:lnTo>
                  <a:pt x="0" y="83165"/>
                </a:lnTo>
                <a:close/>
              </a:path>
            </a:pathLst>
          </a:custGeom>
          <a:solidFill>
            <a:srgbClr val="002060"/>
          </a:solidFill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7250" tIns="67250" rIns="67250" bIns="67250" numCol="1" spcCol="1270" anchor="ctr" anchorCtr="0">
            <a:noAutofit/>
          </a:bodyPr>
          <a:lstStyle/>
          <a:p>
            <a:pPr marL="0" marR="0" lvl="0" indent="0" algn="ctr" defTabSz="50543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tr-TR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2825" cy="1445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0277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2825" cy="144517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88" t="23307" r="4787" b="4711"/>
          <a:stretch/>
        </p:blipFill>
        <p:spPr>
          <a:xfrm>
            <a:off x="0" y="1445178"/>
            <a:ext cx="9902823" cy="5412822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-29136" y="1445178"/>
            <a:ext cx="5386651" cy="485967"/>
          </a:xfrm>
          <a:prstGeom prst="rect">
            <a:avLst/>
          </a:prstGeom>
          <a:solidFill>
            <a:srgbClr val="17375E">
              <a:alpha val="60000"/>
            </a:srgb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55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İstanbul Yeni Havaalanı</a:t>
            </a:r>
          </a:p>
        </p:txBody>
      </p:sp>
    </p:spTree>
    <p:extLst>
      <p:ext uri="{BB962C8B-B14F-4D97-AF65-F5344CB8AC3E}">
        <p14:creationId xmlns:p14="http://schemas.microsoft.com/office/powerpoint/2010/main" val="26203003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t="17328"/>
          <a:stretch/>
        </p:blipFill>
        <p:spPr>
          <a:xfrm>
            <a:off x="11112" y="1102470"/>
            <a:ext cx="9902825" cy="5755530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21961" y="1445178"/>
            <a:ext cx="5386651" cy="485967"/>
          </a:xfrm>
          <a:prstGeom prst="rect">
            <a:avLst/>
          </a:prstGeom>
          <a:solidFill>
            <a:srgbClr val="17375E">
              <a:alpha val="60000"/>
            </a:srgb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55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İstanbul Yeni Havaalanı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8574" y="2552963"/>
            <a:ext cx="5387609" cy="842410"/>
          </a:xfrm>
          <a:prstGeom prst="rect">
            <a:avLst/>
          </a:prstGeom>
          <a:solidFill>
            <a:schemeClr val="bg1">
              <a:lumMod val="95000"/>
              <a:alpha val="87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37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Şişecam Temperlenebilir Solar Low-E Cam	</a:t>
            </a:r>
          </a:p>
        </p:txBody>
      </p:sp>
      <p:grpSp>
        <p:nvGrpSpPr>
          <p:cNvPr id="29" name="Group 28"/>
          <p:cNvGrpSpPr/>
          <p:nvPr/>
        </p:nvGrpSpPr>
        <p:grpSpPr>
          <a:xfrm>
            <a:off x="8888557" y="5353832"/>
            <a:ext cx="1015855" cy="1432492"/>
            <a:chOff x="7805151" y="5060177"/>
            <a:chExt cx="1015855" cy="1432492"/>
          </a:xfrm>
        </p:grpSpPr>
        <p:sp>
          <p:nvSpPr>
            <p:cNvPr id="14" name="Rectangle 13"/>
            <p:cNvSpPr/>
            <p:nvPr/>
          </p:nvSpPr>
          <p:spPr>
            <a:xfrm>
              <a:off x="7805151" y="5386012"/>
              <a:ext cx="998912" cy="1106657"/>
            </a:xfrm>
            <a:prstGeom prst="rect">
              <a:avLst/>
            </a:prstGeom>
            <a:solidFill>
              <a:srgbClr val="5B7F9F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3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 rotWithShape="1"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r="1716"/>
            <a:stretch/>
          </p:blipFill>
          <p:spPr>
            <a:xfrm>
              <a:off x="7902081" y="5478160"/>
              <a:ext cx="848182" cy="802992"/>
            </a:xfrm>
            <a:prstGeom prst="rect">
              <a:avLst/>
            </a:prstGeom>
          </p:spPr>
        </p:pic>
        <p:sp>
          <p:nvSpPr>
            <p:cNvPr id="20" name="TextBox 19"/>
            <p:cNvSpPr txBox="1"/>
            <p:nvPr/>
          </p:nvSpPr>
          <p:spPr>
            <a:xfrm>
              <a:off x="7805151" y="5084605"/>
              <a:ext cx="994294" cy="27697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5B7F9F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3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7831339" y="5060177"/>
              <a:ext cx="989667" cy="3422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9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812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ÜRÜLTÜ KONTROLÜ 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7719752" y="5334000"/>
            <a:ext cx="1080000" cy="1459832"/>
            <a:chOff x="6926685" y="5141596"/>
            <a:chExt cx="1080000" cy="1459832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926685" y="5161428"/>
              <a:ext cx="1080000" cy="1440000"/>
            </a:xfrm>
            <a:prstGeom prst="rect">
              <a:avLst/>
            </a:prstGeom>
          </p:spPr>
        </p:pic>
        <p:sp>
          <p:nvSpPr>
            <p:cNvPr id="6" name="TextBox 5"/>
            <p:cNvSpPr txBox="1"/>
            <p:nvPr/>
          </p:nvSpPr>
          <p:spPr>
            <a:xfrm>
              <a:off x="6957249" y="5178754"/>
              <a:ext cx="1024807" cy="266336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2BB673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3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6933214" y="5141596"/>
              <a:ext cx="1032589" cy="355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9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812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MNİYE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9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812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GÜVENLİK </a:t>
              </a:r>
              <a:endParaRPr kumimoji="0" lang="tr-TR" sz="569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6570010" y="5359353"/>
            <a:ext cx="1079999" cy="1440000"/>
            <a:chOff x="5836957" y="5161428"/>
            <a:chExt cx="1079999" cy="1440000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846139" y="5161428"/>
              <a:ext cx="1070817" cy="1440000"/>
            </a:xfrm>
            <a:prstGeom prst="rect">
              <a:avLst/>
            </a:prstGeom>
          </p:spPr>
        </p:pic>
        <p:sp>
          <p:nvSpPr>
            <p:cNvPr id="23" name="Rectangle 22"/>
            <p:cNvSpPr/>
            <p:nvPr/>
          </p:nvSpPr>
          <p:spPr>
            <a:xfrm>
              <a:off x="5977735" y="5218295"/>
              <a:ext cx="783439" cy="3443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31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5836957" y="5218295"/>
              <a:ext cx="1040064" cy="60883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91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r-TR" sz="812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ISI ve GÜNEŞ KONTROLÜ</a:t>
              </a:r>
              <a:endParaRPr kumimoji="0" lang="tr-TR" sz="569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4" name="Plus 23"/>
          <p:cNvSpPr/>
          <p:nvPr/>
        </p:nvSpPr>
        <p:spPr>
          <a:xfrm rot="21581799">
            <a:off x="2297447" y="3377439"/>
            <a:ext cx="732524" cy="629230"/>
          </a:xfrm>
          <a:prstGeom prst="mathPlus">
            <a:avLst/>
          </a:prstGeom>
          <a:solidFill>
            <a:schemeClr val="tx1">
              <a:lumMod val="65000"/>
              <a:lumOff val="35000"/>
            </a:schemeClr>
          </a:solidFill>
          <a:ln w="38100">
            <a:solidFill>
              <a:schemeClr val="bg1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6" name="Right Arrow 25"/>
          <p:cNvSpPr/>
          <p:nvPr/>
        </p:nvSpPr>
        <p:spPr>
          <a:xfrm rot="5348774">
            <a:off x="2161689" y="4319418"/>
            <a:ext cx="1004043" cy="609765"/>
          </a:xfrm>
          <a:prstGeom prst="rightArrow">
            <a:avLst>
              <a:gd name="adj1" fmla="val 29692"/>
              <a:gd name="adj2" fmla="val 70197"/>
            </a:avLst>
          </a:prstGeom>
          <a:solidFill>
            <a:schemeClr val="tx1">
              <a:lumMod val="65000"/>
              <a:lumOff val="35000"/>
            </a:schemeClr>
          </a:solidFill>
          <a:ln w="38100">
            <a:solidFill>
              <a:schemeClr val="bg1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" name="Rectangle 2"/>
          <p:cNvSpPr/>
          <p:nvPr/>
        </p:nvSpPr>
        <p:spPr>
          <a:xfrm>
            <a:off x="-30094" y="4011186"/>
            <a:ext cx="5387609" cy="467372"/>
          </a:xfrm>
          <a:prstGeom prst="rect">
            <a:avLst/>
          </a:prstGeom>
          <a:solidFill>
            <a:schemeClr val="bg1">
              <a:lumMod val="95000"/>
              <a:alpha val="87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37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Şişecam Lamine Cam</a:t>
            </a:r>
          </a:p>
        </p:txBody>
      </p:sp>
      <p:sp>
        <p:nvSpPr>
          <p:cNvPr id="2" name="Rectangle 1"/>
          <p:cNvSpPr/>
          <p:nvPr/>
        </p:nvSpPr>
        <p:spPr>
          <a:xfrm>
            <a:off x="1761508" y="5133392"/>
            <a:ext cx="2019356" cy="1329788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5604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51/29</a:t>
            </a:r>
            <a:r>
              <a:rPr kumimoji="0" lang="tr-TR" sz="467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3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Performans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2825" cy="1445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578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2825" cy="144517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903412" y="5840731"/>
            <a:ext cx="6819900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5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Teşekkürl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5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5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augurlu@sisecam.com</a:t>
            </a:r>
          </a:p>
        </p:txBody>
      </p:sp>
      <p:pic>
        <p:nvPicPr>
          <p:cNvPr id="102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4926" y="1376663"/>
            <a:ext cx="9937751" cy="5481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8817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2825" cy="144517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827212" y="2286000"/>
            <a:ext cx="6819900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5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Teşekkürl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5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5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augurlu@sisecam.com</a:t>
            </a:r>
          </a:p>
        </p:txBody>
      </p:sp>
    </p:spTree>
    <p:extLst>
      <p:ext uri="{BB962C8B-B14F-4D97-AF65-F5344CB8AC3E}">
        <p14:creationId xmlns:p14="http://schemas.microsoft.com/office/powerpoint/2010/main" val="1620207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712" y="2069175"/>
            <a:ext cx="8417401" cy="1592527"/>
          </a:xfrm>
        </p:spPr>
        <p:txBody>
          <a:bodyPr/>
          <a:lstStyle/>
          <a:p>
            <a:r>
              <a:rPr lang="tr-TR" dirty="0"/>
              <a:t> 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2825" cy="6855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8041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04057"/>
            <a:ext cx="9902826" cy="564918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t="3292" b="4817"/>
          <a:stretch/>
        </p:blipFill>
        <p:spPr>
          <a:xfrm>
            <a:off x="3046412" y="5243900"/>
            <a:ext cx="4412112" cy="109581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/>
          <a:srcRect l="-1" t="1813" r="6424"/>
          <a:stretch/>
        </p:blipFill>
        <p:spPr>
          <a:xfrm>
            <a:off x="3138400" y="1632286"/>
            <a:ext cx="4398492" cy="30053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2825" cy="1445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7750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9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9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9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9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67" t="-289" r="10917" b="289"/>
          <a:stretch/>
        </p:blipFill>
        <p:spPr>
          <a:xfrm>
            <a:off x="0" y="1445178"/>
            <a:ext cx="9902825" cy="541282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-153988" y="1730621"/>
            <a:ext cx="5931317" cy="810991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670" b="1" i="0" u="none" strike="noStrike" kern="1200" cap="none" spc="0" normalizeH="0" baseline="0" noProof="0" dirty="0">
                <a:ln>
                  <a:noFill/>
                </a:ln>
                <a:solidFill>
                  <a:srgbClr val="F9FD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1</a:t>
            </a:r>
            <a:r>
              <a:rPr kumimoji="0" lang="tr-TR" sz="3249" b="1" i="0" u="none" strike="noStrike" kern="1200" cap="none" spc="0" normalizeH="0" baseline="0" noProof="0" dirty="0">
                <a:ln>
                  <a:noFill/>
                </a:ln>
                <a:solidFill>
                  <a:srgbClr val="F9FD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yıllık köklü deneyimi il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0" y="2597918"/>
            <a:ext cx="3665252" cy="1442318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924" b="0" i="0" u="none" strike="noStrike" kern="1200" cap="none" spc="0" normalizeH="0" baseline="0" noProof="0" dirty="0">
                <a:ln>
                  <a:noFill/>
                </a:ln>
                <a:solidFill>
                  <a:srgbClr val="F9FD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Cam Endüstrisinin Tüm Alanlarında Global Oyuncu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2825" cy="1445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476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32" b="14345"/>
          <a:stretch/>
        </p:blipFill>
        <p:spPr>
          <a:xfrm>
            <a:off x="0" y="1473753"/>
            <a:ext cx="9929813" cy="5412822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381621" y="2525551"/>
            <a:ext cx="4136884" cy="1724565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674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21.000</a:t>
            </a:r>
            <a:r>
              <a:rPr kumimoji="0" lang="tr-TR" sz="2924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  </a:t>
            </a:r>
            <a:r>
              <a:rPr kumimoji="0" lang="tr-TR" sz="38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kişilik</a:t>
            </a:r>
            <a:r>
              <a:rPr kumimoji="0" lang="tr-TR" sz="467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8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Global bir aile</a:t>
            </a:r>
            <a:endParaRPr kumimoji="0" lang="en-US" sz="3899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2825" cy="1445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95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64" b="8088"/>
          <a:stretch/>
        </p:blipFill>
        <p:spPr>
          <a:xfrm>
            <a:off x="-15876" y="1676400"/>
            <a:ext cx="9902825" cy="51816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28049" y="1694920"/>
            <a:ext cx="3896772" cy="267958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5604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3</a:t>
            </a:r>
            <a:r>
              <a:rPr kumimoji="0" lang="tr-TR" sz="324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Ülke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5604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4</a:t>
            </a:r>
            <a:r>
              <a:rPr kumimoji="0" lang="tr-TR" sz="324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Tesiste üretim</a:t>
            </a:r>
            <a:endParaRPr kumimoji="0" lang="tr-TR" sz="1462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5604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50</a:t>
            </a:r>
            <a:r>
              <a:rPr kumimoji="0" lang="tr-TR" sz="324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tr-TR" sz="324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Ülkede Satış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2825" cy="1445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67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45"/>
          <p:cNvPicPr>
            <a:picLocks noChangeAspect="1"/>
          </p:cNvPicPr>
          <p:nvPr/>
        </p:nvPicPr>
        <p:blipFill rotWithShape="1">
          <a:blip r:embed="rId3"/>
          <a:srcRect l="7311" t="9331" r="33003" b="34510"/>
          <a:stretch/>
        </p:blipFill>
        <p:spPr>
          <a:xfrm>
            <a:off x="4978100" y="1600200"/>
            <a:ext cx="4962232" cy="2459634"/>
          </a:xfrm>
          <a:prstGeom prst="rect">
            <a:avLst/>
          </a:prstGeom>
        </p:spPr>
      </p:pic>
      <p:sp>
        <p:nvSpPr>
          <p:cNvPr id="71" name="TextBox 70"/>
          <p:cNvSpPr txBox="1"/>
          <p:nvPr/>
        </p:nvSpPr>
        <p:spPr>
          <a:xfrm>
            <a:off x="4985707" y="1623595"/>
            <a:ext cx="2743655" cy="937809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3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Şişecam Cam Ambalaj</a:t>
            </a:r>
            <a:endParaRPr kumimoji="0" lang="en-US" sz="2437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60" name="Picture 59"/>
          <p:cNvPicPr>
            <a:picLocks noChangeAspect="1"/>
          </p:cNvPicPr>
          <p:nvPr/>
        </p:nvPicPr>
        <p:blipFill rotWithShape="1">
          <a:blip r:embed="rId4"/>
          <a:srcRect t="7485" b="1906"/>
          <a:stretch/>
        </p:blipFill>
        <p:spPr>
          <a:xfrm>
            <a:off x="4965079" y="4052537"/>
            <a:ext cx="4988474" cy="2774490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 rotWithShape="1">
          <a:blip r:embed="rId5"/>
          <a:srcRect l="7621" t="10862" r="30403" b="25206"/>
          <a:stretch/>
        </p:blipFill>
        <p:spPr>
          <a:xfrm>
            <a:off x="3466" y="4052410"/>
            <a:ext cx="4998102" cy="2791302"/>
          </a:xfrm>
          <a:prstGeom prst="rect">
            <a:avLst/>
          </a:prstGeom>
        </p:spPr>
      </p:pic>
      <p:sp>
        <p:nvSpPr>
          <p:cNvPr id="72" name="TextBox 71"/>
          <p:cNvSpPr txBox="1"/>
          <p:nvPr/>
        </p:nvSpPr>
        <p:spPr>
          <a:xfrm>
            <a:off x="4985707" y="4153894"/>
            <a:ext cx="2575615" cy="937809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3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Şişecam Kimyasallar</a:t>
            </a:r>
            <a:endParaRPr kumimoji="0" lang="en-US" sz="2437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13022" y="4122570"/>
            <a:ext cx="1883408" cy="937809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3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m Ev Eşyası</a:t>
            </a:r>
            <a:endParaRPr kumimoji="0" lang="en-US" sz="2437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6"/>
          <a:srcRect t="14134" r="23573" b="18774"/>
          <a:stretch/>
        </p:blipFill>
        <p:spPr>
          <a:xfrm>
            <a:off x="13022" y="1603029"/>
            <a:ext cx="4988474" cy="2468288"/>
          </a:xfrm>
          <a:prstGeom prst="rect">
            <a:avLst/>
          </a:prstGeom>
        </p:spPr>
      </p:pic>
      <p:sp>
        <p:nvSpPr>
          <p:cNvPr id="62" name="TextBox 61"/>
          <p:cNvSpPr txBox="1"/>
          <p:nvPr/>
        </p:nvSpPr>
        <p:spPr>
          <a:xfrm>
            <a:off x="13022" y="1635129"/>
            <a:ext cx="2140944" cy="937809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3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Şişecam Düzcam</a:t>
            </a:r>
            <a:endParaRPr kumimoji="0" lang="en-US" sz="2437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2825" cy="1445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359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45" b="9568"/>
          <a:stretch/>
        </p:blipFill>
        <p:spPr>
          <a:xfrm>
            <a:off x="17462" y="1445178"/>
            <a:ext cx="9902825" cy="539565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7462" y="5003659"/>
            <a:ext cx="9902825" cy="1892441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8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2.8 milyon ton üretim kapasitesi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8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yenilikçi cam çözümleri il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8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dünya ligind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2825" cy="1445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743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/>
          <a:srcRect l="6872" t="-2" r="13007" b="738"/>
          <a:stretch/>
        </p:blipFill>
        <p:spPr>
          <a:xfrm>
            <a:off x="12698" y="1445178"/>
            <a:ext cx="9902825" cy="5412823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74612" y="2012156"/>
            <a:ext cx="3994721" cy="3017044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87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Avrupa’da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2924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87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Dünya’da </a:t>
            </a:r>
            <a:endParaRPr kumimoji="0" lang="en-US" sz="4873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>
            <p:custDataLst>
              <p:tags r:id="rId1"/>
            </p:custDataLst>
          </p:nvPr>
        </p:nvSpPr>
        <p:spPr>
          <a:xfrm>
            <a:off x="2665412" y="2705846"/>
            <a:ext cx="1371747" cy="158594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9706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1.</a:t>
            </a:r>
            <a:endParaRPr kumimoji="0" lang="en-US" sz="9706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933972" y="3915646"/>
            <a:ext cx="1103187" cy="233275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9706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5.</a:t>
            </a:r>
            <a:endParaRPr kumimoji="0" lang="en-US" sz="9706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2825" cy="1445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435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3</TotalTime>
  <Words>552</Words>
  <Application>Microsoft Office PowerPoint</Application>
  <PresentationFormat>Custom</PresentationFormat>
  <Paragraphs>151</Paragraphs>
  <Slides>25</Slides>
  <Notes>17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2" baseType="lpstr">
      <vt:lpstr>Arial</vt:lpstr>
      <vt:lpstr>Calibri</vt:lpstr>
      <vt:lpstr>Calibri Light</vt:lpstr>
      <vt:lpstr>Gotham-BoldItalic</vt:lpstr>
      <vt:lpstr>Times New Roman</vt:lpstr>
      <vt:lpstr>Wingdings</vt:lpstr>
      <vt:lpstr>Office Theme</vt:lpstr>
      <vt:lpstr>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zolasyon dünyası</dc:creator>
  <cp:lastModifiedBy>Burak</cp:lastModifiedBy>
  <cp:revision>27</cp:revision>
  <dcterms:created xsi:type="dcterms:W3CDTF">2006-08-16T00:00:00Z</dcterms:created>
  <dcterms:modified xsi:type="dcterms:W3CDTF">2017-04-27T08:21:45Z</dcterms:modified>
</cp:coreProperties>
</file>